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12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147473216" r:id="rId2"/>
    <p:sldId id="2147473218" r:id="rId3"/>
    <p:sldId id="2147473269" r:id="rId4"/>
    <p:sldId id="2147473233" r:id="rId5"/>
    <p:sldId id="2147473228" r:id="rId6"/>
    <p:sldId id="2147473279" r:id="rId7"/>
    <p:sldId id="2147473280" r:id="rId8"/>
    <p:sldId id="2147473283" r:id="rId9"/>
    <p:sldId id="2147473284" r:id="rId10"/>
    <p:sldId id="2147473285" r:id="rId11"/>
    <p:sldId id="2147473286" r:id="rId12"/>
    <p:sldId id="2147473287" r:id="rId13"/>
    <p:sldId id="2147473278" r:id="rId14"/>
    <p:sldId id="2147473251" r:id="rId15"/>
    <p:sldId id="2147473272" r:id="rId16"/>
    <p:sldId id="2147473234" r:id="rId17"/>
    <p:sldId id="275" r:id="rId18"/>
    <p:sldId id="2147473225" r:id="rId19"/>
    <p:sldId id="276" r:id="rId20"/>
  </p:sldIdLst>
  <p:sldSz cx="12192000" cy="6858000"/>
  <p:notesSz cx="6858000" cy="9144000"/>
  <p:custDataLst>
    <p:tags r:id="rId22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icio" id="{98FA115B-2FDE-4898-84D3-A532EA66D7CC}">
          <p14:sldIdLst>
            <p14:sldId id="2147473216"/>
            <p14:sldId id="2147473218"/>
            <p14:sldId id="2147473269"/>
          </p14:sldIdLst>
        </p14:section>
        <p14:section name="Check In" id="{C49AFD89-405E-47BD-B1DD-0802F0B337EB}">
          <p14:sldIdLst>
            <p14:sldId id="2147473233"/>
            <p14:sldId id="2147473228"/>
          </p14:sldIdLst>
        </p14:section>
        <p14:section name="Clase 4" id="{FAD39CBF-D02A-46B2-8BB0-E77341891289}">
          <p14:sldIdLst>
            <p14:sldId id="2147473279"/>
            <p14:sldId id="2147473280"/>
            <p14:sldId id="2147473283"/>
            <p14:sldId id="2147473284"/>
            <p14:sldId id="2147473285"/>
            <p14:sldId id="2147473286"/>
            <p14:sldId id="2147473287"/>
          </p14:sldIdLst>
        </p14:section>
        <p14:section name="Actividad 2" id="{4612FFDA-029A-4C12-B316-5A32907363AC}">
          <p14:sldIdLst>
            <p14:sldId id="2147473278"/>
            <p14:sldId id="2147473251"/>
          </p14:sldIdLst>
        </p14:section>
        <p14:section name="Demostración 1" id="{BE95651C-A646-4A7B-8A29-359428B07077}">
          <p14:sldIdLst>
            <p14:sldId id="2147473272"/>
          </p14:sldIdLst>
        </p14:section>
        <p14:section name="Ejercicio practico" id="{2F2D74CD-3D20-435A-85FE-BC58AA9D8800}">
          <p14:sldIdLst>
            <p14:sldId id="2147473234"/>
          </p14:sldIdLst>
        </p14:section>
        <p14:section name="Cierre" id="{9355BC73-C63D-4ED3-BE4F-7BC0539B1F40}">
          <p14:sldIdLst>
            <p14:sldId id="275"/>
            <p14:sldId id="2147473225"/>
            <p14:sldId id="27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EA72E"/>
    <a:srgbClr val="2DA594"/>
    <a:srgbClr val="2C2EA2"/>
    <a:srgbClr val="FDBF0D"/>
    <a:srgbClr val="FFCCCC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101A51-4DBC-419A-94E4-7CB3ADFF303B}" v="5" dt="2026-06-23T01:07:53.896"/>
  </p1510:revLst>
</p1510:revInfo>
</file>

<file path=ppt/tableStyles.xml><?xml version="1.0" encoding="utf-8"?>
<a:tblStyleLst xmlns:a="http://schemas.openxmlformats.org/drawingml/2006/main" def="{5C22544A-7EE6-4342-B048-85BDC9FD1C3A}">
  <a:tblStyle styleId="{1E171933-4619-4E11-9A3F-F7608DF75F80}" styleName="Estilo medio 1 - Énfasis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2593" autoAdjust="0"/>
  </p:normalViewPr>
  <p:slideViewPr>
    <p:cSldViewPr snapToGrid="0">
      <p:cViewPr varScale="1">
        <p:scale>
          <a:sx n="55" d="100"/>
          <a:sy n="55" d="100"/>
        </p:scale>
        <p:origin x="102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talie Delgado" userId="7fd1feb95ba999a5" providerId="LiveId" clId="{828A6110-24F7-4285-B616-A197B94C3C38}"/>
    <pc:docChg chg="undo custSel addSld delSld modSld sldOrd addSection delSection modSection">
      <pc:chgData name="Natalie Delgado" userId="7fd1feb95ba999a5" providerId="LiveId" clId="{828A6110-24F7-4285-B616-A197B94C3C38}" dt="2026-06-23T01:12:27.192" v="2647" actId="1076"/>
      <pc:docMkLst>
        <pc:docMk/>
      </pc:docMkLst>
      <pc:sldChg chg="addSp modSp mod">
        <pc:chgData name="Natalie Delgado" userId="7fd1feb95ba999a5" providerId="LiveId" clId="{828A6110-24F7-4285-B616-A197B94C3C38}" dt="2026-06-18T22:28:14.461" v="1895" actId="20577"/>
        <pc:sldMkLst>
          <pc:docMk/>
          <pc:sldMk cId="1097412307" sldId="2147473216"/>
        </pc:sldMkLst>
        <pc:spChg chg="add mod">
          <ac:chgData name="Natalie Delgado" userId="7fd1feb95ba999a5" providerId="LiveId" clId="{828A6110-24F7-4285-B616-A197B94C3C38}" dt="2026-06-13T22:11:52.777" v="587" actId="14100"/>
          <ac:spMkLst>
            <pc:docMk/>
            <pc:sldMk cId="1097412307" sldId="2147473216"/>
            <ac:spMk id="2" creationId="{4BE0FF9C-7F62-E6F7-C5AE-E12DED3737DF}"/>
          </ac:spMkLst>
        </pc:spChg>
        <pc:spChg chg="add mod">
          <ac:chgData name="Natalie Delgado" userId="7fd1feb95ba999a5" providerId="LiveId" clId="{828A6110-24F7-4285-B616-A197B94C3C38}" dt="2026-06-18T22:28:14.461" v="1895" actId="20577"/>
          <ac:spMkLst>
            <pc:docMk/>
            <pc:sldMk cId="1097412307" sldId="2147473216"/>
            <ac:spMk id="3" creationId="{AF9369AE-C017-2E5D-8B9F-49130A8D5F86}"/>
          </ac:spMkLst>
        </pc:spChg>
      </pc:sldChg>
      <pc:sldChg chg="addSp delSp modSp mod ord">
        <pc:chgData name="Natalie Delgado" userId="7fd1feb95ba999a5" providerId="LiveId" clId="{828A6110-24F7-4285-B616-A197B94C3C38}" dt="2026-06-13T22:22:24.703" v="635" actId="15"/>
        <pc:sldMkLst>
          <pc:docMk/>
          <pc:sldMk cId="3573824249" sldId="2147473218"/>
        </pc:sldMkLst>
        <pc:spChg chg="add mod">
          <ac:chgData name="Natalie Delgado" userId="7fd1feb95ba999a5" providerId="LiveId" clId="{828A6110-24F7-4285-B616-A197B94C3C38}" dt="2026-06-13T22:12:22.966" v="603" actId="1076"/>
          <ac:spMkLst>
            <pc:docMk/>
            <pc:sldMk cId="3573824249" sldId="2147473218"/>
            <ac:spMk id="2" creationId="{516B35D5-AF69-A604-5E6A-2FF50F9E357B}"/>
          </ac:spMkLst>
        </pc:spChg>
        <pc:spChg chg="mod">
          <ac:chgData name="Natalie Delgado" userId="7fd1feb95ba999a5" providerId="LiveId" clId="{828A6110-24F7-4285-B616-A197B94C3C38}" dt="2026-06-13T22:22:24.703" v="635" actId="15"/>
          <ac:spMkLst>
            <pc:docMk/>
            <pc:sldMk cId="3573824249" sldId="2147473218"/>
            <ac:spMk id="4" creationId="{A5CEE46A-56F1-F4FC-BF2A-FBE2C05D8294}"/>
          </ac:spMkLst>
        </pc:spChg>
      </pc:sldChg>
      <pc:sldChg chg="addSp modSp mod">
        <pc:chgData name="Natalie Delgado" userId="7fd1feb95ba999a5" providerId="LiveId" clId="{828A6110-24F7-4285-B616-A197B94C3C38}" dt="2026-06-19T00:01:18.123" v="2482"/>
        <pc:sldMkLst>
          <pc:docMk/>
          <pc:sldMk cId="3992728689" sldId="2147473228"/>
        </pc:sldMkLst>
        <pc:spChg chg="add mod">
          <ac:chgData name="Natalie Delgado" userId="7fd1feb95ba999a5" providerId="LiveId" clId="{828A6110-24F7-4285-B616-A197B94C3C38}" dt="2026-06-19T00:01:18.123" v="2482"/>
          <ac:spMkLst>
            <pc:docMk/>
            <pc:sldMk cId="3992728689" sldId="2147473228"/>
            <ac:spMk id="3" creationId="{467C1D7B-FE22-CE57-04B1-C3A26EBF8772}"/>
          </ac:spMkLst>
        </pc:spChg>
        <pc:picChg chg="mod">
          <ac:chgData name="Natalie Delgado" userId="7fd1feb95ba999a5" providerId="LiveId" clId="{828A6110-24F7-4285-B616-A197B94C3C38}" dt="2026-06-19T00:00:21.423" v="2470" actId="1076"/>
          <ac:picMkLst>
            <pc:docMk/>
            <pc:sldMk cId="3992728689" sldId="2147473228"/>
            <ac:picMk id="5" creationId="{319E4592-1E9D-FB86-043E-548524506E7D}"/>
          </ac:picMkLst>
        </pc:picChg>
      </pc:sldChg>
      <pc:sldChg chg="mod ord modShow">
        <pc:chgData name="Natalie Delgado" userId="7fd1feb95ba999a5" providerId="LiveId" clId="{828A6110-24F7-4285-B616-A197B94C3C38}" dt="2026-06-13T23:43:13.195" v="1763"/>
        <pc:sldMkLst>
          <pc:docMk/>
          <pc:sldMk cId="1694350402" sldId="2147473233"/>
        </pc:sldMkLst>
      </pc:sldChg>
      <pc:sldChg chg="addSp delSp modSp mod">
        <pc:chgData name="Natalie Delgado" userId="7fd1feb95ba999a5" providerId="LiveId" clId="{828A6110-24F7-4285-B616-A197B94C3C38}" dt="2026-06-23T01:12:27.192" v="2647" actId="1076"/>
        <pc:sldMkLst>
          <pc:docMk/>
          <pc:sldMk cId="3012300713" sldId="2147473234"/>
        </pc:sldMkLst>
        <pc:spChg chg="add mod">
          <ac:chgData name="Natalie Delgado" userId="7fd1feb95ba999a5" providerId="LiveId" clId="{828A6110-24F7-4285-B616-A197B94C3C38}" dt="2026-06-13T23:38:24.157" v="1654"/>
          <ac:spMkLst>
            <pc:docMk/>
            <pc:sldMk cId="3012300713" sldId="2147473234"/>
            <ac:spMk id="2" creationId="{7B8FE1FA-1709-218D-47F5-30C8279FAA0A}"/>
          </ac:spMkLst>
        </pc:spChg>
        <pc:spChg chg="mod">
          <ac:chgData name="Natalie Delgado" userId="7fd1feb95ba999a5" providerId="LiveId" clId="{828A6110-24F7-4285-B616-A197B94C3C38}" dt="2026-06-23T01:10:19.850" v="2632" actId="20577"/>
          <ac:spMkLst>
            <pc:docMk/>
            <pc:sldMk cId="3012300713" sldId="2147473234"/>
            <ac:spMk id="3" creationId="{63109F98-8F5E-0EA8-C756-088E0E1C665E}"/>
          </ac:spMkLst>
        </pc:spChg>
        <pc:spChg chg="add mod">
          <ac:chgData name="Natalie Delgado" userId="7fd1feb95ba999a5" providerId="LiveId" clId="{828A6110-24F7-4285-B616-A197B94C3C38}" dt="2026-06-23T01:10:33.351" v="2642" actId="20577"/>
          <ac:spMkLst>
            <pc:docMk/>
            <pc:sldMk cId="3012300713" sldId="2147473234"/>
            <ac:spMk id="6" creationId="{5B8F7AA3-4C5D-46A4-73D2-A25A14CE2C9F}"/>
          </ac:spMkLst>
        </pc:spChg>
        <pc:spChg chg="add mod">
          <ac:chgData name="Natalie Delgado" userId="7fd1feb95ba999a5" providerId="LiveId" clId="{828A6110-24F7-4285-B616-A197B94C3C38}" dt="2026-06-23T01:12:27.192" v="2647" actId="1076"/>
          <ac:spMkLst>
            <pc:docMk/>
            <pc:sldMk cId="3012300713" sldId="2147473234"/>
            <ac:spMk id="10" creationId="{D796EC02-B749-B6A2-5F66-F76457E696B9}"/>
          </ac:spMkLst>
        </pc:spChg>
      </pc:sldChg>
      <pc:sldChg chg="ord">
        <pc:chgData name="Natalie Delgado" userId="7fd1feb95ba999a5" providerId="LiveId" clId="{828A6110-24F7-4285-B616-A197B94C3C38}" dt="2026-06-13T22:25:34.537" v="669"/>
        <pc:sldMkLst>
          <pc:docMk/>
          <pc:sldMk cId="2596796332" sldId="2147473251"/>
        </pc:sldMkLst>
      </pc:sldChg>
      <pc:sldChg chg="addSp modSp new mod setBg">
        <pc:chgData name="Natalie Delgado" userId="7fd1feb95ba999a5" providerId="LiveId" clId="{828A6110-24F7-4285-B616-A197B94C3C38}" dt="2026-06-19T00:02:35.867" v="2496"/>
        <pc:sldMkLst>
          <pc:docMk/>
          <pc:sldMk cId="2051419963" sldId="2147473269"/>
        </pc:sldMkLst>
        <pc:spChg chg="add mod">
          <ac:chgData name="Natalie Delgado" userId="7fd1feb95ba999a5" providerId="LiveId" clId="{828A6110-24F7-4285-B616-A197B94C3C38}" dt="2026-06-19T00:02:35.867" v="2496"/>
          <ac:spMkLst>
            <pc:docMk/>
            <pc:sldMk cId="2051419963" sldId="2147473269"/>
            <ac:spMk id="3" creationId="{4BCE5027-98DB-623E-887B-EA0C1198FCEC}"/>
          </ac:spMkLst>
        </pc:spChg>
      </pc:sldChg>
      <pc:sldChg chg="addSp delSp modSp add del mod setBg">
        <pc:chgData name="Natalie Delgado" userId="7fd1feb95ba999a5" providerId="LiveId" clId="{828A6110-24F7-4285-B616-A197B94C3C38}" dt="2026-06-23T01:09:50.724" v="2624" actId="14100"/>
        <pc:sldMkLst>
          <pc:docMk/>
          <pc:sldMk cId="4282923115" sldId="2147473272"/>
        </pc:sldMkLst>
        <pc:spChg chg="mod">
          <ac:chgData name="Natalie Delgado" userId="7fd1feb95ba999a5" providerId="LiveId" clId="{828A6110-24F7-4285-B616-A197B94C3C38}" dt="2026-06-13T23:26:16.474" v="1276" actId="20577"/>
          <ac:spMkLst>
            <pc:docMk/>
            <pc:sldMk cId="4282923115" sldId="2147473272"/>
            <ac:spMk id="3" creationId="{FEB28149-FC26-0D13-3E05-6E8A0A4764B7}"/>
          </ac:spMkLst>
        </pc:spChg>
        <pc:spChg chg="add mod ord">
          <ac:chgData name="Natalie Delgado" userId="7fd1feb95ba999a5" providerId="LiveId" clId="{828A6110-24F7-4285-B616-A197B94C3C38}" dt="2026-06-23T01:09:50.724" v="2624" actId="14100"/>
          <ac:spMkLst>
            <pc:docMk/>
            <pc:sldMk cId="4282923115" sldId="2147473272"/>
            <ac:spMk id="5" creationId="{EF263439-2616-019E-1C42-56BB9000C822}"/>
          </ac:spMkLst>
        </pc:spChg>
        <pc:spChg chg="mod">
          <ac:chgData name="Natalie Delgado" userId="7fd1feb95ba999a5" providerId="LiveId" clId="{828A6110-24F7-4285-B616-A197B94C3C38}" dt="2026-06-13T21:55:26.064" v="452" actId="20577"/>
          <ac:spMkLst>
            <pc:docMk/>
            <pc:sldMk cId="4282923115" sldId="2147473272"/>
            <ac:spMk id="7" creationId="{B2268511-9751-7E32-5237-263A28AFC9FE}"/>
          </ac:spMkLst>
        </pc:spChg>
        <pc:spChg chg="add mod">
          <ac:chgData name="Natalie Delgado" userId="7fd1feb95ba999a5" providerId="LiveId" clId="{828A6110-24F7-4285-B616-A197B94C3C38}" dt="2026-06-13T23:38:21.486" v="1653"/>
          <ac:spMkLst>
            <pc:docMk/>
            <pc:sldMk cId="4282923115" sldId="2147473272"/>
            <ac:spMk id="9" creationId="{29C6D331-E056-E362-B6C7-613AF6BB1F1F}"/>
          </ac:spMkLst>
        </pc:spChg>
        <pc:spChg chg="add mod ord">
          <ac:chgData name="Natalie Delgado" userId="7fd1feb95ba999a5" providerId="LiveId" clId="{828A6110-24F7-4285-B616-A197B94C3C38}" dt="2026-06-23T01:01:33.821" v="2608" actId="20577"/>
          <ac:spMkLst>
            <pc:docMk/>
            <pc:sldMk cId="4282923115" sldId="2147473272"/>
            <ac:spMk id="10" creationId="{24FB7E6C-C473-5D25-3207-DA5A3EDCA52D}"/>
          </ac:spMkLst>
        </pc:spChg>
        <pc:grpChg chg="add mod ord">
          <ac:chgData name="Natalie Delgado" userId="7fd1feb95ba999a5" providerId="LiveId" clId="{828A6110-24F7-4285-B616-A197B94C3C38}" dt="2026-06-23T01:07:59.679" v="2621" actId="167"/>
          <ac:grpSpMkLst>
            <pc:docMk/>
            <pc:sldMk cId="4282923115" sldId="2147473272"/>
            <ac:grpSpMk id="8" creationId="{A0AF9086-F0B9-B47E-FE13-4A9F04E0ADEF}"/>
          </ac:grpSpMkLst>
        </pc:grpChg>
        <pc:picChg chg="add mod modCrop">
          <ac:chgData name="Natalie Delgado" userId="7fd1feb95ba999a5" providerId="LiveId" clId="{828A6110-24F7-4285-B616-A197B94C3C38}" dt="2026-06-23T01:07:53.896" v="2620" actId="164"/>
          <ac:picMkLst>
            <pc:docMk/>
            <pc:sldMk cId="4282923115" sldId="2147473272"/>
            <ac:picMk id="4" creationId="{5ADD6625-220F-25D2-89C5-6B39FAD83A44}"/>
          </ac:picMkLst>
        </pc:picChg>
        <pc:picChg chg="add mod">
          <ac:chgData name="Natalie Delgado" userId="7fd1feb95ba999a5" providerId="LiveId" clId="{828A6110-24F7-4285-B616-A197B94C3C38}" dt="2026-06-23T01:07:53.896" v="2620" actId="164"/>
          <ac:picMkLst>
            <pc:docMk/>
            <pc:sldMk cId="4282923115" sldId="2147473272"/>
            <ac:picMk id="6" creationId="{37E42D2A-16BD-5781-0F18-7C21CC1F4863}"/>
          </ac:picMkLst>
        </pc:picChg>
      </pc:sldChg>
      <pc:sldChg chg="addSp delSp modSp new add del mod setBg">
        <pc:chgData name="Natalie Delgado" userId="7fd1feb95ba999a5" providerId="LiveId" clId="{828A6110-24F7-4285-B616-A197B94C3C38}" dt="2026-06-21T22:08:21.034" v="2546" actId="20577"/>
        <pc:sldMkLst>
          <pc:docMk/>
          <pc:sldMk cId="127862289" sldId="2147473278"/>
        </pc:sldMkLst>
        <pc:spChg chg="mod">
          <ac:chgData name="Natalie Delgado" userId="7fd1feb95ba999a5" providerId="LiveId" clId="{828A6110-24F7-4285-B616-A197B94C3C38}" dt="2026-06-21T22:08:21.034" v="2546" actId="20577"/>
          <ac:spMkLst>
            <pc:docMk/>
            <pc:sldMk cId="127862289" sldId="2147473278"/>
            <ac:spMk id="4" creationId="{1FD1CA99-51B9-BC32-ABCF-68EB0E118AA5}"/>
          </ac:spMkLst>
        </pc:spChg>
        <pc:picChg chg="add mod">
          <ac:chgData name="Natalie Delgado" userId="7fd1feb95ba999a5" providerId="LiveId" clId="{828A6110-24F7-4285-B616-A197B94C3C38}" dt="2026-06-18T23:13:09.300" v="2341" actId="1076"/>
          <ac:picMkLst>
            <pc:docMk/>
            <pc:sldMk cId="127862289" sldId="2147473278"/>
            <ac:picMk id="5" creationId="{DA9081E8-74DE-D43B-4DAA-38A9DAC97AA0}"/>
          </ac:picMkLst>
        </pc:picChg>
      </pc:sldChg>
      <pc:sldChg chg="addSp modSp new mod setBg">
        <pc:chgData name="Natalie Delgado" userId="7fd1feb95ba999a5" providerId="LiveId" clId="{828A6110-24F7-4285-B616-A197B94C3C38}" dt="2026-06-18T22:47:29.320" v="1908" actId="1076"/>
        <pc:sldMkLst>
          <pc:docMk/>
          <pc:sldMk cId="1160251088" sldId="2147473279"/>
        </pc:sldMkLst>
        <pc:spChg chg="add mod">
          <ac:chgData name="Natalie Delgado" userId="7fd1feb95ba999a5" providerId="LiveId" clId="{828A6110-24F7-4285-B616-A197B94C3C38}" dt="2026-06-18T22:47:27.153" v="1907" actId="1076"/>
          <ac:spMkLst>
            <pc:docMk/>
            <pc:sldMk cId="1160251088" sldId="2147473279"/>
            <ac:spMk id="3" creationId="{FC477750-007E-B631-6AC3-3E17E816DE3A}"/>
          </ac:spMkLst>
        </pc:spChg>
        <pc:picChg chg="add mod">
          <ac:chgData name="Natalie Delgado" userId="7fd1feb95ba999a5" providerId="LiveId" clId="{828A6110-24F7-4285-B616-A197B94C3C38}" dt="2026-06-18T22:47:29.320" v="1908" actId="1076"/>
          <ac:picMkLst>
            <pc:docMk/>
            <pc:sldMk cId="1160251088" sldId="2147473279"/>
            <ac:picMk id="5" creationId="{3AB235BE-E20A-7012-A94D-E49B9416C081}"/>
          </ac:picMkLst>
        </pc:picChg>
      </pc:sldChg>
      <pc:sldChg chg="addSp delSp modSp add mod modAnim">
        <pc:chgData name="Natalie Delgado" userId="7fd1feb95ba999a5" providerId="LiveId" clId="{828A6110-24F7-4285-B616-A197B94C3C38}" dt="2026-06-18T22:50:15.791" v="1976"/>
        <pc:sldMkLst>
          <pc:docMk/>
          <pc:sldMk cId="1672049313" sldId="2147473280"/>
        </pc:sldMkLst>
        <pc:spChg chg="add mod">
          <ac:chgData name="Natalie Delgado" userId="7fd1feb95ba999a5" providerId="LiveId" clId="{828A6110-24F7-4285-B616-A197B94C3C38}" dt="2026-06-18T22:47:46.202" v="1913" actId="1076"/>
          <ac:spMkLst>
            <pc:docMk/>
            <pc:sldMk cId="1672049313" sldId="2147473280"/>
            <ac:spMk id="2" creationId="{E51BC526-5678-FE33-4302-EC14184837BA}"/>
          </ac:spMkLst>
        </pc:spChg>
        <pc:spChg chg="add mod">
          <ac:chgData name="Natalie Delgado" userId="7fd1feb95ba999a5" providerId="LiveId" clId="{828A6110-24F7-4285-B616-A197B94C3C38}" dt="2026-06-18T22:49:10.624" v="1925" actId="14100"/>
          <ac:spMkLst>
            <pc:docMk/>
            <pc:sldMk cId="1672049313" sldId="2147473280"/>
            <ac:spMk id="4" creationId="{2F170F18-D698-75C0-FCAB-5A41AFD34C96}"/>
          </ac:spMkLst>
        </pc:spChg>
        <pc:spChg chg="add mod">
          <ac:chgData name="Natalie Delgado" userId="7fd1feb95ba999a5" providerId="LiveId" clId="{828A6110-24F7-4285-B616-A197B94C3C38}" dt="2026-06-18T22:49:04.930" v="1924" actId="208"/>
          <ac:spMkLst>
            <pc:docMk/>
            <pc:sldMk cId="1672049313" sldId="2147473280"/>
            <ac:spMk id="6" creationId="{91AB3131-E7EB-7062-9AB4-2E7D128C8522}"/>
          </ac:spMkLst>
        </pc:spChg>
        <pc:spChg chg="add mod">
          <ac:chgData name="Natalie Delgado" userId="7fd1feb95ba999a5" providerId="LiveId" clId="{828A6110-24F7-4285-B616-A197B94C3C38}" dt="2026-06-18T22:50:09.437" v="1975" actId="6549"/>
          <ac:spMkLst>
            <pc:docMk/>
            <pc:sldMk cId="1672049313" sldId="2147473280"/>
            <ac:spMk id="7" creationId="{EFC84BB0-EF74-CEB0-C441-3B2636A55B6A}"/>
          </ac:spMkLst>
        </pc:spChg>
        <pc:picChg chg="mod">
          <ac:chgData name="Natalie Delgado" userId="7fd1feb95ba999a5" providerId="LiveId" clId="{828A6110-24F7-4285-B616-A197B94C3C38}" dt="2026-06-18T22:48:18.309" v="1921" actId="1076"/>
          <ac:picMkLst>
            <pc:docMk/>
            <pc:sldMk cId="1672049313" sldId="2147473280"/>
            <ac:picMk id="5" creationId="{C23CB403-5763-F089-5C52-CDAF6793DFF9}"/>
          </ac:picMkLst>
        </pc:picChg>
      </pc:sldChg>
      <pc:sldChg chg="addSp delSp modSp add mod delAnim modAnim">
        <pc:chgData name="Natalie Delgado" userId="7fd1feb95ba999a5" providerId="LiveId" clId="{828A6110-24F7-4285-B616-A197B94C3C38}" dt="2026-06-18T22:53:43.246" v="2056" actId="1076"/>
        <pc:sldMkLst>
          <pc:docMk/>
          <pc:sldMk cId="3474134773" sldId="2147473283"/>
        </pc:sldMkLst>
        <pc:spChg chg="add mod">
          <ac:chgData name="Natalie Delgado" userId="7fd1feb95ba999a5" providerId="LiveId" clId="{828A6110-24F7-4285-B616-A197B94C3C38}" dt="2026-06-18T22:53:43.246" v="2056" actId="1076"/>
          <ac:spMkLst>
            <pc:docMk/>
            <pc:sldMk cId="3474134773" sldId="2147473283"/>
            <ac:spMk id="8" creationId="{D0E55C16-FB96-791D-692B-AAE5588F5328}"/>
          </ac:spMkLst>
        </pc:spChg>
        <pc:spChg chg="add mod">
          <ac:chgData name="Natalie Delgado" userId="7fd1feb95ba999a5" providerId="LiveId" clId="{828A6110-24F7-4285-B616-A197B94C3C38}" dt="2026-06-18T22:52:55.448" v="2005" actId="1076"/>
          <ac:spMkLst>
            <pc:docMk/>
            <pc:sldMk cId="3474134773" sldId="2147473283"/>
            <ac:spMk id="12" creationId="{A8258CA0-EDA9-4B68-AE7D-CED10E7804E8}"/>
          </ac:spMkLst>
        </pc:spChg>
        <pc:spChg chg="add mod">
          <ac:chgData name="Natalie Delgado" userId="7fd1feb95ba999a5" providerId="LiveId" clId="{828A6110-24F7-4285-B616-A197B94C3C38}" dt="2026-06-18T22:53:39.350" v="2055" actId="20577"/>
          <ac:spMkLst>
            <pc:docMk/>
            <pc:sldMk cId="3474134773" sldId="2147473283"/>
            <ac:spMk id="17" creationId="{DD1222BE-46DF-29F8-23C7-9884BADF9102}"/>
          </ac:spMkLst>
        </pc:spChg>
        <pc:picChg chg="mod">
          <ac:chgData name="Natalie Delgado" userId="7fd1feb95ba999a5" providerId="LiveId" clId="{828A6110-24F7-4285-B616-A197B94C3C38}" dt="2026-06-18T22:52:26.835" v="1999" actId="1076"/>
          <ac:picMkLst>
            <pc:docMk/>
            <pc:sldMk cId="3474134773" sldId="2147473283"/>
            <ac:picMk id="5" creationId="{77E95828-D2F2-1224-5DE1-E606BE9497DD}"/>
          </ac:picMkLst>
        </pc:picChg>
        <pc:picChg chg="add mod">
          <ac:chgData name="Natalie Delgado" userId="7fd1feb95ba999a5" providerId="LiveId" clId="{828A6110-24F7-4285-B616-A197B94C3C38}" dt="2026-06-18T22:53:24.856" v="2010" actId="1076"/>
          <ac:picMkLst>
            <pc:docMk/>
            <pc:sldMk cId="3474134773" sldId="2147473283"/>
            <ac:picMk id="10" creationId="{C8A08F6F-7504-404C-3FE0-61401F1F7B95}"/>
          </ac:picMkLst>
        </pc:picChg>
        <pc:picChg chg="add mod">
          <ac:chgData name="Natalie Delgado" userId="7fd1feb95ba999a5" providerId="LiveId" clId="{828A6110-24F7-4285-B616-A197B94C3C38}" dt="2026-06-18T22:52:57.805" v="2006" actId="1076"/>
          <ac:picMkLst>
            <pc:docMk/>
            <pc:sldMk cId="3474134773" sldId="2147473283"/>
            <ac:picMk id="16" creationId="{EF9D122F-15D0-DC6C-326D-ACA9EF951C02}"/>
          </ac:picMkLst>
        </pc:picChg>
      </pc:sldChg>
      <pc:sldChg chg="addSp delSp modSp add mod addAnim delAnim modAnim">
        <pc:chgData name="Natalie Delgado" userId="7fd1feb95ba999a5" providerId="LiveId" clId="{828A6110-24F7-4285-B616-A197B94C3C38}" dt="2026-06-19T00:29:32.531" v="2545"/>
        <pc:sldMkLst>
          <pc:docMk/>
          <pc:sldMk cId="859436732" sldId="2147473284"/>
        </pc:sldMkLst>
        <pc:spChg chg="add mod">
          <ac:chgData name="Natalie Delgado" userId="7fd1feb95ba999a5" providerId="LiveId" clId="{828A6110-24F7-4285-B616-A197B94C3C38}" dt="2026-06-18T22:54:51.194" v="2086" actId="6549"/>
          <ac:spMkLst>
            <pc:docMk/>
            <pc:sldMk cId="859436732" sldId="2147473284"/>
            <ac:spMk id="3" creationId="{2EB41520-D27F-EEC0-98D2-E0FC8AC972CB}"/>
          </ac:spMkLst>
        </pc:spChg>
        <pc:spChg chg="add mod">
          <ac:chgData name="Natalie Delgado" userId="7fd1feb95ba999a5" providerId="LiveId" clId="{828A6110-24F7-4285-B616-A197B94C3C38}" dt="2026-06-18T22:55:15.814" v="2088"/>
          <ac:spMkLst>
            <pc:docMk/>
            <pc:sldMk cId="859436732" sldId="2147473284"/>
            <ac:spMk id="4" creationId="{1093DB42-8EC7-0D76-13B3-1FBFAC9BB049}"/>
          </ac:spMkLst>
        </pc:spChg>
        <pc:spChg chg="add mod">
          <ac:chgData name="Natalie Delgado" userId="7fd1feb95ba999a5" providerId="LiveId" clId="{828A6110-24F7-4285-B616-A197B94C3C38}" dt="2026-06-18T22:56:29.762" v="2177" actId="1076"/>
          <ac:spMkLst>
            <pc:docMk/>
            <pc:sldMk cId="859436732" sldId="2147473284"/>
            <ac:spMk id="9" creationId="{96349EA7-A528-876B-03B8-05E9114E1BD7}"/>
          </ac:spMkLst>
        </pc:spChg>
        <pc:spChg chg="add mod">
          <ac:chgData name="Natalie Delgado" userId="7fd1feb95ba999a5" providerId="LiveId" clId="{828A6110-24F7-4285-B616-A197B94C3C38}" dt="2026-06-19T00:29:25.793" v="2544" actId="207"/>
          <ac:spMkLst>
            <pc:docMk/>
            <pc:sldMk cId="859436732" sldId="2147473284"/>
            <ac:spMk id="15" creationId="{63CD1AB6-CAA2-56A8-02B1-E59F34FF9016}"/>
          </ac:spMkLst>
        </pc:spChg>
        <pc:spChg chg="mod">
          <ac:chgData name="Natalie Delgado" userId="7fd1feb95ba999a5" providerId="LiveId" clId="{828A6110-24F7-4285-B616-A197B94C3C38}" dt="2026-06-18T22:58:03.822" v="2190" actId="20577"/>
          <ac:spMkLst>
            <pc:docMk/>
            <pc:sldMk cId="859436732" sldId="2147473284"/>
            <ac:spMk id="17" creationId="{D4BF9BA2-5AAB-3140-6F79-CF65CFB728B3}"/>
          </ac:spMkLst>
        </pc:spChg>
        <pc:picChg chg="add mod">
          <ac:chgData name="Natalie Delgado" userId="7fd1feb95ba999a5" providerId="LiveId" clId="{828A6110-24F7-4285-B616-A197B94C3C38}" dt="2026-06-18T22:57:42.060" v="2184" actId="1076"/>
          <ac:picMkLst>
            <pc:docMk/>
            <pc:sldMk cId="859436732" sldId="2147473284"/>
            <ac:picMk id="13" creationId="{55503D0E-8AEB-2AC9-DEE8-9F63A1926625}"/>
          </ac:picMkLst>
        </pc:picChg>
        <pc:picChg chg="mod">
          <ac:chgData name="Natalie Delgado" userId="7fd1feb95ba999a5" providerId="LiveId" clId="{828A6110-24F7-4285-B616-A197B94C3C38}" dt="2026-06-18T22:54:54.988" v="2087" actId="1076"/>
          <ac:picMkLst>
            <pc:docMk/>
            <pc:sldMk cId="859436732" sldId="2147473284"/>
            <ac:picMk id="16" creationId="{C104CB69-B477-028E-A787-921737306EDE}"/>
          </ac:picMkLst>
        </pc:picChg>
      </pc:sldChg>
      <pc:sldChg chg="addSp delSp modSp new mod setBg modAnim">
        <pc:chgData name="Natalie Delgado" userId="7fd1feb95ba999a5" providerId="LiveId" clId="{828A6110-24F7-4285-B616-A197B94C3C38}" dt="2026-06-18T23:16:43.048" v="2388"/>
        <pc:sldMkLst>
          <pc:docMk/>
          <pc:sldMk cId="378808765" sldId="2147473285"/>
        </pc:sldMkLst>
        <pc:spChg chg="add mod">
          <ac:chgData name="Natalie Delgado" userId="7fd1feb95ba999a5" providerId="LiveId" clId="{828A6110-24F7-4285-B616-A197B94C3C38}" dt="2026-06-18T23:13:58.296" v="2348" actId="1076"/>
          <ac:spMkLst>
            <pc:docMk/>
            <pc:sldMk cId="378808765" sldId="2147473285"/>
            <ac:spMk id="5" creationId="{1BCFDBF6-8DFC-AAB5-228B-7A0233300D9A}"/>
          </ac:spMkLst>
        </pc:spChg>
        <pc:spChg chg="add mod">
          <ac:chgData name="Natalie Delgado" userId="7fd1feb95ba999a5" providerId="LiveId" clId="{828A6110-24F7-4285-B616-A197B94C3C38}" dt="2026-06-18T23:15:00.387" v="2358" actId="122"/>
          <ac:spMkLst>
            <pc:docMk/>
            <pc:sldMk cId="378808765" sldId="2147473285"/>
            <ac:spMk id="9" creationId="{479ED463-8F8A-56EF-5D56-0A87A6B7F2C5}"/>
          </ac:spMkLst>
        </pc:spChg>
        <pc:spChg chg="add mod">
          <ac:chgData name="Natalie Delgado" userId="7fd1feb95ba999a5" providerId="LiveId" clId="{828A6110-24F7-4285-B616-A197B94C3C38}" dt="2026-06-18T23:16:39.028" v="2387" actId="20577"/>
          <ac:spMkLst>
            <pc:docMk/>
            <pc:sldMk cId="378808765" sldId="2147473285"/>
            <ac:spMk id="12" creationId="{E0531672-E4A8-17F0-9B4E-F774ADA8ACDD}"/>
          </ac:spMkLst>
        </pc:spChg>
        <pc:graphicFrameChg chg="add mod modGraphic">
          <ac:chgData name="Natalie Delgado" userId="7fd1feb95ba999a5" providerId="LiveId" clId="{828A6110-24F7-4285-B616-A197B94C3C38}" dt="2026-06-18T23:16:18.238" v="2373" actId="1076"/>
          <ac:graphicFrameMkLst>
            <pc:docMk/>
            <pc:sldMk cId="378808765" sldId="2147473285"/>
            <ac:graphicFrameMk id="11" creationId="{145C3EEB-B680-091C-8D3E-BC61F9713BCA}"/>
          </ac:graphicFrameMkLst>
        </pc:graphicFrameChg>
        <pc:picChg chg="add mod">
          <ac:chgData name="Natalie Delgado" userId="7fd1feb95ba999a5" providerId="LiveId" clId="{828A6110-24F7-4285-B616-A197B94C3C38}" dt="2026-06-18T23:14:21.088" v="2351" actId="1076"/>
          <ac:picMkLst>
            <pc:docMk/>
            <pc:sldMk cId="378808765" sldId="2147473285"/>
            <ac:picMk id="7" creationId="{2F6E8AE0-CCCF-219D-D5D2-9F1B10F36A46}"/>
          </ac:picMkLst>
        </pc:picChg>
        <pc:picChg chg="add mod">
          <ac:chgData name="Natalie Delgado" userId="7fd1feb95ba999a5" providerId="LiveId" clId="{828A6110-24F7-4285-B616-A197B94C3C38}" dt="2026-06-18T23:15:03.484" v="2359" actId="1076"/>
          <ac:picMkLst>
            <pc:docMk/>
            <pc:sldMk cId="378808765" sldId="2147473285"/>
            <ac:picMk id="10" creationId="{CAFD2EE9-942D-745A-E4D8-7C0A1EBC8C20}"/>
          </ac:picMkLst>
        </pc:picChg>
      </pc:sldChg>
      <pc:sldChg chg="delSp modSp add mod delAnim">
        <pc:chgData name="Natalie Delgado" userId="7fd1feb95ba999a5" providerId="LiveId" clId="{828A6110-24F7-4285-B616-A197B94C3C38}" dt="2026-06-18T23:18:18.659" v="2404" actId="1076"/>
        <pc:sldMkLst>
          <pc:docMk/>
          <pc:sldMk cId="2260819432" sldId="2147473286"/>
        </pc:sldMkLst>
        <pc:spChg chg="mod">
          <ac:chgData name="Natalie Delgado" userId="7fd1feb95ba999a5" providerId="LiveId" clId="{828A6110-24F7-4285-B616-A197B94C3C38}" dt="2026-06-18T23:18:18.659" v="2404" actId="1076"/>
          <ac:spMkLst>
            <pc:docMk/>
            <pc:sldMk cId="2260819432" sldId="2147473286"/>
            <ac:spMk id="9" creationId="{5C9F5789-F515-17B5-87C0-E87EE060608B}"/>
          </ac:spMkLst>
        </pc:spChg>
        <pc:picChg chg="mod">
          <ac:chgData name="Natalie Delgado" userId="7fd1feb95ba999a5" providerId="LiveId" clId="{828A6110-24F7-4285-B616-A197B94C3C38}" dt="2026-06-18T23:17:49.675" v="2399" actId="14100"/>
          <ac:picMkLst>
            <pc:docMk/>
            <pc:sldMk cId="2260819432" sldId="2147473286"/>
            <ac:picMk id="7" creationId="{AD9F397E-D279-7F23-0124-709BBB3B1472}"/>
          </ac:picMkLst>
        </pc:picChg>
      </pc:sldChg>
      <pc:sldChg chg="addSp delSp modSp add mod modAnim">
        <pc:chgData name="Natalie Delgado" userId="7fd1feb95ba999a5" providerId="LiveId" clId="{828A6110-24F7-4285-B616-A197B94C3C38}" dt="2026-06-23T00:20:56.225" v="2554"/>
        <pc:sldMkLst>
          <pc:docMk/>
          <pc:sldMk cId="3167566005" sldId="2147473287"/>
        </pc:sldMkLst>
        <pc:spChg chg="add mod">
          <ac:chgData name="Natalie Delgado" userId="7fd1feb95ba999a5" providerId="LiveId" clId="{828A6110-24F7-4285-B616-A197B94C3C38}" dt="2026-06-18T23:25:20.433" v="2463" actId="14100"/>
          <ac:spMkLst>
            <pc:docMk/>
            <pc:sldMk cId="3167566005" sldId="2147473287"/>
            <ac:spMk id="3" creationId="{BBC4A6AF-4365-9089-B70A-BA6AEA33A77C}"/>
          </ac:spMkLst>
        </pc:spChg>
        <pc:spChg chg="mod">
          <ac:chgData name="Natalie Delgado" userId="7fd1feb95ba999a5" providerId="LiveId" clId="{828A6110-24F7-4285-B616-A197B94C3C38}" dt="2026-06-18T23:27:55.136" v="2469" actId="255"/>
          <ac:spMkLst>
            <pc:docMk/>
            <pc:sldMk cId="3167566005" sldId="2147473287"/>
            <ac:spMk id="5" creationId="{5F981C98-AC91-6608-1125-E02BF2B363A7}"/>
          </ac:spMkLst>
        </pc:spChg>
        <pc:spChg chg="add mod">
          <ac:chgData name="Natalie Delgado" userId="7fd1feb95ba999a5" providerId="LiveId" clId="{828A6110-24F7-4285-B616-A197B94C3C38}" dt="2026-06-23T00:20:33.027" v="2549" actId="14100"/>
          <ac:spMkLst>
            <pc:docMk/>
            <pc:sldMk cId="3167566005" sldId="2147473287"/>
            <ac:spMk id="6" creationId="{2B99BF5B-6417-9B7D-8D2F-2A466543BAA9}"/>
          </ac:spMkLst>
        </pc:spChg>
        <pc:spChg chg="add mod">
          <ac:chgData name="Natalie Delgado" userId="7fd1feb95ba999a5" providerId="LiveId" clId="{828A6110-24F7-4285-B616-A197B94C3C38}" dt="2026-06-23T00:20:29.780" v="2548" actId="14100"/>
          <ac:spMkLst>
            <pc:docMk/>
            <pc:sldMk cId="3167566005" sldId="2147473287"/>
            <ac:spMk id="10" creationId="{90E74DB8-B3F6-4C41-E425-F9103C09B24B}"/>
          </ac:spMkLst>
        </pc:spChg>
        <pc:spChg chg="add mod">
          <ac:chgData name="Natalie Delgado" userId="7fd1feb95ba999a5" providerId="LiveId" clId="{828A6110-24F7-4285-B616-A197B94C3C38}" dt="2026-06-23T00:20:35.065" v="2550" actId="14100"/>
          <ac:spMkLst>
            <pc:docMk/>
            <pc:sldMk cId="3167566005" sldId="2147473287"/>
            <ac:spMk id="12" creationId="{8C85EDB7-650C-3B5D-4F77-14440DA10CA3}"/>
          </ac:spMkLst>
        </pc:spChg>
        <pc:picChg chg="mod">
          <ac:chgData name="Natalie Delgado" userId="7fd1feb95ba999a5" providerId="LiveId" clId="{828A6110-24F7-4285-B616-A197B94C3C38}" dt="2026-06-18T23:19:43.192" v="2424" actId="14100"/>
          <ac:picMkLst>
            <pc:docMk/>
            <pc:sldMk cId="3167566005" sldId="2147473287"/>
            <ac:picMk id="7" creationId="{FCC09292-C2BF-19D9-74EB-C4FD367432AD}"/>
          </ac:picMkLst>
        </pc:picChg>
        <pc:picChg chg="add mod">
          <ac:chgData name="Natalie Delgado" userId="7fd1feb95ba999a5" providerId="LiveId" clId="{828A6110-24F7-4285-B616-A197B94C3C38}" dt="2026-06-18T23:25:10.243" v="2459" actId="1076"/>
          <ac:picMkLst>
            <pc:docMk/>
            <pc:sldMk cId="3167566005" sldId="2147473287"/>
            <ac:picMk id="18" creationId="{50429616-616B-F13B-9716-2E6B7AC93530}"/>
          </ac:picMkLst>
        </pc:picChg>
        <pc:picChg chg="add mod">
          <ac:chgData name="Natalie Delgado" userId="7fd1feb95ba999a5" providerId="LiveId" clId="{828A6110-24F7-4285-B616-A197B94C3C38}" dt="2026-06-18T23:25:23.520" v="2465" actId="1076"/>
          <ac:picMkLst>
            <pc:docMk/>
            <pc:sldMk cId="3167566005" sldId="2147473287"/>
            <ac:picMk id="20" creationId="{CB1DD481-06C3-56F1-11D4-AA103747D6F3}"/>
          </ac:picMkLst>
        </pc:picChg>
        <pc:picChg chg="add mod">
          <ac:chgData name="Natalie Delgado" userId="7fd1feb95ba999a5" providerId="LiveId" clId="{828A6110-24F7-4285-B616-A197B94C3C38}" dt="2026-06-18T23:25:30.408" v="2466" actId="1076"/>
          <ac:picMkLst>
            <pc:docMk/>
            <pc:sldMk cId="3167566005" sldId="2147473287"/>
            <ac:picMk id="22" creationId="{0B89E32F-254E-B90A-E6DE-F5A1539D0888}"/>
          </ac:picMkLst>
        </pc:picChg>
        <pc:picChg chg="add mod">
          <ac:chgData name="Natalie Delgado" userId="7fd1feb95ba999a5" providerId="LiveId" clId="{828A6110-24F7-4285-B616-A197B94C3C38}" dt="2026-06-18T23:26:13.038" v="2468" actId="1076"/>
          <ac:picMkLst>
            <pc:docMk/>
            <pc:sldMk cId="3167566005" sldId="2147473287"/>
            <ac:picMk id="24" creationId="{46F7DBFC-ABEF-2FFE-9CF9-0AFBA63C7ECC}"/>
          </ac:picMkLst>
        </pc:picChg>
        <pc:cxnChg chg="add mod">
          <ac:chgData name="Natalie Delgado" userId="7fd1feb95ba999a5" providerId="LiveId" clId="{828A6110-24F7-4285-B616-A197B94C3C38}" dt="2026-06-18T23:20:57.353" v="2445" actId="1582"/>
          <ac:cxnSpMkLst>
            <pc:docMk/>
            <pc:sldMk cId="3167566005" sldId="2147473287"/>
            <ac:cxnSpMk id="14" creationId="{CB96CC73-B284-4A26-64DC-2008F15DEECB}"/>
          </ac:cxnSpMkLst>
        </pc:cxnChg>
        <pc:cxnChg chg="add mod">
          <ac:chgData name="Natalie Delgado" userId="7fd1feb95ba999a5" providerId="LiveId" clId="{828A6110-24F7-4285-B616-A197B94C3C38}" dt="2026-06-18T23:20:51.002" v="2443" actId="1582"/>
          <ac:cxnSpMkLst>
            <pc:docMk/>
            <pc:sldMk cId="3167566005" sldId="2147473287"/>
            <ac:cxnSpMk id="16" creationId="{496D2765-9146-BC0B-99A3-EF0D911E00A3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C6822D-4DB8-4CEA-A8D8-C1C546DEEBC1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37C5F6-A159-4FDA-B970-393C6359CAD3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1891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03CBE9-2528-CD45-ACE5-8234B880B4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F8DD264E-5F32-7BDF-39BB-67A0E1D768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0DAEC525-5894-CD6F-93FF-4A198AB4F2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✅ Un proyecto creado.</a:t>
            </a:r>
          </a:p>
          <a:p>
            <a:r>
              <a:rPr lang="es-CL" dirty="0"/>
              <a:t>✅ Fecha de inicio configurada.</a:t>
            </a:r>
          </a:p>
          <a:p>
            <a:r>
              <a:rPr lang="es-CL" dirty="0"/>
              <a:t>✅ Calendario configurado.</a:t>
            </a:r>
          </a:p>
          <a:p>
            <a:r>
              <a:rPr lang="es-CL" dirty="0"/>
              <a:t>✅ Jornada configurada.</a:t>
            </a:r>
          </a:p>
          <a:p>
            <a:r>
              <a:rPr lang="es-CL" dirty="0"/>
              <a:t>✅ Archivo guardado correctamente.</a:t>
            </a:r>
          </a:p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14F652A-6635-76D9-0676-B7687A2D49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37C5F6-A159-4FDA-B970-393C6359CAD3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70084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37C5F6-A159-4FDA-B970-393C6359CAD3}" type="slidenum">
              <a:rPr lang="es-CL" smtClean="0"/>
              <a:t>1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076514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BABD53-DD41-9947-1E30-1B126BEEDA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B29B12D-5C9B-7298-BF3D-53FF56D8F6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B2A9BDC-D425-9BFA-9705-E4AB9A107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AE9F5E8-6540-E7A0-D23E-5B5435F6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EB93E68-BD9D-2A43-F94F-6CF00E91B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558904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B8DDDCF-9786-F141-E3CA-C6EA970B9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236DECF-44FE-8FCB-D6D2-C4EAF8CBBA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1FE3BAD-4259-D827-0E14-7322B97DD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5E0F209-C0C6-0E04-7AF5-D262253363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7035C7-86CD-9B74-B271-8C3F96878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386322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CE8798A-B6F1-FC83-2AF8-01454EFB291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FD50D01-E120-683D-E493-7DA0A786A4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EB25E3F-62D4-3A59-54E7-42841860F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8FD4CA7-6270-41A6-9CCE-6738F08E2A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F8E8958-DC83-A016-B382-8250B9405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82289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82B609C-C9FA-3216-7012-2958A3B68B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F235501-EC0F-5131-A433-C6F2E98E0E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83D41D-BA71-5C6C-FCBE-A28BC8305D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EC33EE0-D4F3-C556-15B5-0212F3B86E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6135B0E-1F28-1167-5BD9-345E193AA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781803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276730-B8A2-246C-D353-4CF5537D5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0CC20D3-C039-BD51-29D9-04C8110AD6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42638AC-FB81-E76B-6483-C8471CBE7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52CE07F-D57A-4468-F0FD-9457A74E5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3D8DDF8-0966-8727-C6A5-014EAE460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909745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43253E8-104E-8D31-D265-268418749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00AD181-5BCF-FC7E-D096-1996913316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02DD79BF-2DD3-0E73-7747-901597AF5A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8EE2EEE-CE8C-AA60-4846-5FCC3F308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16DEDBF-3E0E-80F7-8203-2D54B093B9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9B6A887-9E7D-070F-AB76-06F5286B3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36394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7859BAD-C141-2B70-6814-5B5620411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C04E7B-257C-D0AE-2914-0FAC4DDAAF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FD51766-3EEA-9F01-F54D-AED923DCD6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6BD87E9-4A30-F8E2-AE79-45D5119C1B3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08521876-77B8-AC5B-7518-66928368E8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E9061702-374A-6590-2C38-7418388C81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2AE513A6-2E12-A507-B784-665BF1B091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0B086E64-CD53-0BC2-1B1F-719DB2036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826781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A3BED92-21C4-4A93-3520-D9F7145AA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2BE75D13-49D8-9880-A92C-49547169BB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66DB02-896C-F7AC-8108-6E7689961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66BA1ADB-A666-694D-BC44-150C58DDF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380354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103F7707-82D1-FDED-0BE3-68257E058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2B4A751-E83A-12E3-DC3A-FBEFDDB75B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04D1B71-84E8-840C-E6E0-8CDF766A1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992661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2C9E3D-FB77-950F-4C10-A5179FB69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F8F2309-F67B-9CBC-982E-89E48FE13E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47025BC-51B9-5F9A-6487-701A1DEEEB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238CF93-24D3-83F1-FA48-BDE6504F6C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6C9A0E7-14E7-EE55-791A-2586AF0BB2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1D9889C-A25B-62F7-72A0-AAD3013803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75902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143384F-80C5-6DAC-E051-BCDF38E60F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51A442DD-E5FF-A893-5996-CBB9B5437D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8EF73900-99E9-B76F-0692-E39BEDF052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B81AB8C-A973-9C4D-6F8D-CDDA34743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EF4D28D5-4A3A-E078-6C83-BD564FFFAE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EED5534-82A5-AFB5-2FA8-CF7A21141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510530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4B4503F-3D9D-C575-BA49-274C2B8374D5}"/>
              </a:ext>
            </a:extLst>
          </p:cNvPr>
          <p:cNvGraphicFramePr>
            <a:graphicFrameLocks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52601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404" imgH="405" progId="TCLayout.ActiveDocument.1">
                  <p:embed/>
                </p:oleObj>
              </mc:Choice>
              <mc:Fallback>
                <p:oleObj name="Diapositiva de think-cell" r:id="rId14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B4503F-3D9D-C575-BA49-274C2B8374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E93AC1C-9098-3416-F5F8-126762549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67E8592-1D1B-8AF5-8C20-CE78E7276C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712E7C7-10A1-2525-0609-627E6A2F47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C829F67-15E7-4F32-AC9A-D986BB87E97F}" type="datetimeFigureOut">
              <a:rPr lang="es-CL" smtClean="0"/>
              <a:t>18-06-2026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6A89073-B459-A30F-1455-DA8B25817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C88F1F3-D0D5-8EE3-A5F8-1709E62302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E01BB41-2568-4D44-BD4A-300A832EDA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33988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7.xml"/><Relationship Id="rId5" Type="http://schemas.openxmlformats.org/officeDocument/2006/relationships/image" Target="../media/image10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2.png"/><Relationship Id="rId7" Type="http://schemas.openxmlformats.org/officeDocument/2006/relationships/image" Target="../media/image17.sv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16.sv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0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23.jpeg"/><Relationship Id="rId5" Type="http://schemas.openxmlformats.org/officeDocument/2006/relationships/image" Target="../media/image22.png"/><Relationship Id="rId4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2.xml"/><Relationship Id="rId4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3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5.xml"/><Relationship Id="rId5" Type="http://schemas.openxmlformats.org/officeDocument/2006/relationships/image" Target="../media/image21.png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.png"/><Relationship Id="rId7" Type="http://schemas.microsoft.com/office/2007/relationships/hdphoto" Target="../media/hdphoto1.wdp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016CBB2-169A-55A7-4CBA-204389A289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7400" y="624666"/>
            <a:ext cx="6084211" cy="5246530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6E731FFE-FA29-FF8E-6926-DAA62CE5F829}"/>
              </a:ext>
            </a:extLst>
          </p:cNvPr>
          <p:cNvSpPr txBox="1"/>
          <p:nvPr/>
        </p:nvSpPr>
        <p:spPr>
          <a:xfrm>
            <a:off x="881743" y="1317171"/>
            <a:ext cx="4191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>
                <a:latin typeface="Arial" panose="020B0604020202020204" pitchFamily="34" charset="0"/>
                <a:cs typeface="Arial" panose="020B0604020202020204" pitchFamily="34" charset="0"/>
              </a:rPr>
              <a:t>CURSO</a:t>
            </a:r>
            <a:endParaRPr lang="es-CL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E44A4FF-15B2-8B46-C98F-A581544E04C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7031" t="25773" r="49566" b="44598"/>
          <a:stretch>
            <a:fillRect/>
          </a:stretch>
        </p:blipFill>
        <p:spPr>
          <a:xfrm>
            <a:off x="881743" y="1686504"/>
            <a:ext cx="4985657" cy="1914492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E99BB73D-0EE1-2B23-1C90-334C4DCA30BF}"/>
              </a:ext>
            </a:extLst>
          </p:cNvPr>
          <p:cNvSpPr txBox="1"/>
          <p:nvPr/>
        </p:nvSpPr>
        <p:spPr>
          <a:xfrm>
            <a:off x="881743" y="3600996"/>
            <a:ext cx="44740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>
                <a:latin typeface="Arial" panose="020B0604020202020204" pitchFamily="34" charset="0"/>
                <a:cs typeface="Arial" panose="020B0604020202020204" pitchFamily="34" charset="0"/>
              </a:rPr>
              <a:t>MEDIANTE MS Project </a:t>
            </a:r>
          </a:p>
          <a:p>
            <a:endParaRPr lang="es-CL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4BE0FF9C-7F62-E6F7-C5AE-E12DED3737DF}"/>
              </a:ext>
            </a:extLst>
          </p:cNvPr>
          <p:cNvSpPr txBox="1"/>
          <p:nvPr/>
        </p:nvSpPr>
        <p:spPr>
          <a:xfrm>
            <a:off x="898616" y="4274431"/>
            <a:ext cx="4968784" cy="7078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ódulo 2: Estructuración y Construcción de Cartas Gantt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F9369AE-C017-2E5D-8B9F-49130A8D5F86}"/>
              </a:ext>
            </a:extLst>
          </p:cNvPr>
          <p:cNvSpPr txBox="1"/>
          <p:nvPr/>
        </p:nvSpPr>
        <p:spPr>
          <a:xfrm>
            <a:off x="898616" y="5112957"/>
            <a:ext cx="14331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ase 4</a:t>
            </a:r>
          </a:p>
        </p:txBody>
      </p:sp>
    </p:spTree>
    <p:extLst>
      <p:ext uri="{BB962C8B-B14F-4D97-AF65-F5344CB8AC3E}">
        <p14:creationId xmlns:p14="http://schemas.microsoft.com/office/powerpoint/2010/main" val="10974123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>
            <a:extLst>
              <a:ext uri="{FF2B5EF4-FFF2-40B4-BE49-F238E27FC236}">
                <a16:creationId xmlns:a16="http://schemas.microsoft.com/office/drawing/2014/main" id="{1BCFDBF6-8DFC-AAB5-228B-7A0233300D9A}"/>
              </a:ext>
            </a:extLst>
          </p:cNvPr>
          <p:cNvSpPr txBox="1"/>
          <p:nvPr/>
        </p:nvSpPr>
        <p:spPr>
          <a:xfrm>
            <a:off x="651077" y="550325"/>
            <a:ext cx="609407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2000" b="1" dirty="0">
                <a:latin typeface="Arial" panose="020B0604020202020204" pitchFamily="34" charset="0"/>
                <a:cs typeface="Arial" panose="020B0604020202020204" pitchFamily="34" charset="0"/>
              </a:rPr>
              <a:t>Una EDT también ayuda a identificar riesgos</a:t>
            </a:r>
            <a:endParaRPr lang="es-CL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2F6E8AE0-CCCF-219D-D5D2-9F1B10F36A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585" y="1117921"/>
            <a:ext cx="1944547" cy="1944547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479ED463-8F8A-56EF-5D56-0A87A6B7F2C5}"/>
              </a:ext>
            </a:extLst>
          </p:cNvPr>
          <p:cNvSpPr txBox="1"/>
          <p:nvPr/>
        </p:nvSpPr>
        <p:spPr>
          <a:xfrm>
            <a:off x="2914628" y="1443863"/>
            <a:ext cx="6094070" cy="8720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¿Qué podría impedir que esta actividad se complete según lo planificado?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CAFD2EE9-942D-745A-E4D8-7C0A1EBC8C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08698" y="1117921"/>
            <a:ext cx="2153157" cy="2153157"/>
          </a:xfrm>
          <a:prstGeom prst="rect">
            <a:avLst/>
          </a:prstGeom>
        </p:spPr>
      </p:pic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145C3EEB-B680-091C-8D3E-BC61F9713B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6812170"/>
              </p:ext>
            </p:extLst>
          </p:nvPr>
        </p:nvGraphicFramePr>
        <p:xfrm>
          <a:off x="2500132" y="3219577"/>
          <a:ext cx="6389225" cy="219456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592729">
                  <a:extLst>
                    <a:ext uri="{9D8B030D-6E8A-4147-A177-3AD203B41FA5}">
                      <a16:colId xmlns:a16="http://schemas.microsoft.com/office/drawing/2014/main" val="909460728"/>
                    </a:ext>
                  </a:extLst>
                </a:gridCol>
                <a:gridCol w="3796496">
                  <a:extLst>
                    <a:ext uri="{9D8B030D-6E8A-4147-A177-3AD203B41FA5}">
                      <a16:colId xmlns:a16="http://schemas.microsoft.com/office/drawing/2014/main" val="244494489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b="1" dirty="0">
                          <a:solidFill>
                            <a:schemeClr val="bg1"/>
                          </a:solidFill>
                        </a:rPr>
                        <a:t>Actividad</a:t>
                      </a:r>
                      <a:endParaRPr lang="es-CL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b="1" dirty="0">
                          <a:solidFill>
                            <a:schemeClr val="bg1"/>
                          </a:solidFill>
                        </a:rPr>
                        <a:t>Riesgo</a:t>
                      </a:r>
                      <a:endParaRPr lang="es-CL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79787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dirty="0"/>
                        <a:t>Desmontar motor</a:t>
                      </a:r>
                      <a:endParaRPr lang="es-C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dirty="0"/>
                        <a:t>Hallazgo de daño mayor</a:t>
                      </a:r>
                      <a:endParaRPr lang="es-C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87730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dirty="0"/>
                        <a:t>Compra repuestos</a:t>
                      </a:r>
                      <a:endParaRPr lang="es-C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/>
                        <a:t>Retraso proveedor</a:t>
                      </a:r>
                      <a:endParaRPr lang="es-CL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65408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dirty="0"/>
                        <a:t>Reparación</a:t>
                      </a:r>
                      <a:endParaRPr lang="es-C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/>
                        <a:t>Falta especialista</a:t>
                      </a:r>
                      <a:endParaRPr lang="es-CL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346318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dirty="0"/>
                        <a:t>Armado</a:t>
                      </a:r>
                      <a:endParaRPr lang="es-C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/>
                        <a:t>Componente incompleto</a:t>
                      </a:r>
                      <a:endParaRPr lang="es-CL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12228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dirty="0"/>
                        <a:t>Calidad</a:t>
                      </a:r>
                      <a:endParaRPr lang="es-C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dirty="0"/>
                        <a:t>Rechazo inspección</a:t>
                      </a:r>
                      <a:endParaRPr lang="es-C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36167086"/>
                  </a:ext>
                </a:extLst>
              </a:tr>
            </a:tbl>
          </a:graphicData>
        </a:graphic>
      </p:graphicFrame>
      <p:sp>
        <p:nvSpPr>
          <p:cNvPr id="12" name="CuadroTexto 11">
            <a:extLst>
              <a:ext uri="{FF2B5EF4-FFF2-40B4-BE49-F238E27FC236}">
                <a16:creationId xmlns:a16="http://schemas.microsoft.com/office/drawing/2014/main" id="{E0531672-E4A8-17F0-9B4E-F774ADA8ACDD}"/>
              </a:ext>
            </a:extLst>
          </p:cNvPr>
          <p:cNvSpPr txBox="1"/>
          <p:nvPr/>
        </p:nvSpPr>
        <p:spPr>
          <a:xfrm>
            <a:off x="2500131" y="2731626"/>
            <a:ext cx="1817225" cy="377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>
                <a:latin typeface="Arial" panose="020B0604020202020204" pitchFamily="34" charset="0"/>
                <a:cs typeface="Arial" panose="020B0604020202020204" pitchFamily="34" charset="0"/>
              </a:rPr>
              <a:t>Ejemplos: </a:t>
            </a:r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808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618C09A-087A-BE63-ACA9-08C5FEF44C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>
            <a:extLst>
              <a:ext uri="{FF2B5EF4-FFF2-40B4-BE49-F238E27FC236}">
                <a16:creationId xmlns:a16="http://schemas.microsoft.com/office/drawing/2014/main" id="{48DD1CD6-CFC1-A9D7-1D7B-389385C2759E}"/>
              </a:ext>
            </a:extLst>
          </p:cNvPr>
          <p:cNvSpPr txBox="1"/>
          <p:nvPr/>
        </p:nvSpPr>
        <p:spPr>
          <a:xfrm>
            <a:off x="651077" y="550325"/>
            <a:ext cx="609407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2000" b="1" dirty="0">
                <a:latin typeface="Arial" panose="020B0604020202020204" pitchFamily="34" charset="0"/>
                <a:cs typeface="Arial" panose="020B0604020202020204" pitchFamily="34" charset="0"/>
              </a:rPr>
              <a:t>Una EDT también ayuda a identificar riesgos</a:t>
            </a:r>
            <a:endParaRPr lang="es-CL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D9F397E-D279-7F23-0124-709BBB3B14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585" y="1117921"/>
            <a:ext cx="1273215" cy="1273215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5C9F5789-F515-17B5-87C0-E87EE060608B}"/>
              </a:ext>
            </a:extLst>
          </p:cNvPr>
          <p:cNvSpPr txBox="1"/>
          <p:nvPr/>
        </p:nvSpPr>
        <p:spPr>
          <a:xfrm>
            <a:off x="1539433" y="2558622"/>
            <a:ext cx="9633995" cy="1305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s-CL" sz="2800" dirty="0">
                <a:latin typeface="Arial" panose="020B0604020202020204" pitchFamily="34" charset="0"/>
                <a:cs typeface="Arial" panose="020B0604020202020204" pitchFamily="34" charset="0"/>
              </a:rPr>
              <a:t>"Las actividades más sensibles suelen ser aquellas donde existe incertidumbre técnica, logística o de abastecimiento."</a:t>
            </a:r>
            <a:endParaRPr lang="es-CL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819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B1814F6-E1DB-6969-989D-D675130522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>
            <a:extLst>
              <a:ext uri="{FF2B5EF4-FFF2-40B4-BE49-F238E27FC236}">
                <a16:creationId xmlns:a16="http://schemas.microsoft.com/office/drawing/2014/main" id="{5F981C98-AC91-6608-1125-E02BF2B363A7}"/>
              </a:ext>
            </a:extLst>
          </p:cNvPr>
          <p:cNvSpPr txBox="1"/>
          <p:nvPr/>
        </p:nvSpPr>
        <p:spPr>
          <a:xfrm>
            <a:off x="2074763" y="654497"/>
            <a:ext cx="609407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2400" b="1" dirty="0">
                <a:latin typeface="Arial" panose="020B0604020202020204" pitchFamily="34" charset="0"/>
                <a:cs typeface="Arial" panose="020B0604020202020204" pitchFamily="34" charset="0"/>
              </a:rPr>
              <a:t>Riesgos típicos en reconstrucciones</a:t>
            </a:r>
            <a:endParaRPr lang="es-CL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FCC09292-C2BF-19D9-74EB-C4FD367432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7159" y="388716"/>
            <a:ext cx="1157469" cy="1157469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BBC4A6AF-4365-9089-B70A-BA6AEA33A77C}"/>
              </a:ext>
            </a:extLst>
          </p:cNvPr>
          <p:cNvSpPr txBox="1"/>
          <p:nvPr/>
        </p:nvSpPr>
        <p:spPr>
          <a:xfrm>
            <a:off x="1918506" y="2117669"/>
            <a:ext cx="3557282" cy="17030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None/>
            </a:pP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Riesgos Técnicos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 Daño no detectado. 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 Retrabajo. 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 Falla en pruebas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B99BF5B-6417-9B7D-8D2F-2A466543BAA9}"/>
              </a:ext>
            </a:extLst>
          </p:cNvPr>
          <p:cNvSpPr txBox="1"/>
          <p:nvPr/>
        </p:nvSpPr>
        <p:spPr>
          <a:xfrm>
            <a:off x="6716212" y="2168369"/>
            <a:ext cx="4638550" cy="1287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None/>
            </a:pP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Riesgos de Abastecimiento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 Repuestos atrasados. 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 Stock insuficiente.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90E74DB8-B3F6-4C41-E425-F9103C09B24B}"/>
              </a:ext>
            </a:extLst>
          </p:cNvPr>
          <p:cNvSpPr txBox="1"/>
          <p:nvPr/>
        </p:nvSpPr>
        <p:spPr>
          <a:xfrm>
            <a:off x="1918505" y="4193831"/>
            <a:ext cx="3557282" cy="1287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None/>
            </a:pP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Riesgos Operacionales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 Falta de personal. 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 Prioridades cambiantes.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8C85EDB7-650C-3B5D-4F77-14440DA10CA3}"/>
              </a:ext>
            </a:extLst>
          </p:cNvPr>
          <p:cNvSpPr txBox="1"/>
          <p:nvPr/>
        </p:nvSpPr>
        <p:spPr>
          <a:xfrm>
            <a:off x="6716212" y="4193831"/>
            <a:ext cx="4638549" cy="1287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None/>
            </a:pP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Riesgos de Calidad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 Rechazo de inspección. 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 Observaciones de ingeniería.</a:t>
            </a: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CB96CC73-B284-4A26-64DC-2008F15DEECB}"/>
              </a:ext>
            </a:extLst>
          </p:cNvPr>
          <p:cNvCxnSpPr/>
          <p:nvPr/>
        </p:nvCxnSpPr>
        <p:spPr>
          <a:xfrm>
            <a:off x="5798916" y="1909823"/>
            <a:ext cx="0" cy="4259483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496D2765-9146-BC0B-99A3-EF0D911E00A3}"/>
              </a:ext>
            </a:extLst>
          </p:cNvPr>
          <p:cNvCxnSpPr/>
          <p:nvPr/>
        </p:nvCxnSpPr>
        <p:spPr>
          <a:xfrm>
            <a:off x="1446835" y="3958542"/>
            <a:ext cx="9734309" cy="0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Gráfico 17" descr="Soldadora contorno">
            <a:extLst>
              <a:ext uri="{FF2B5EF4-FFF2-40B4-BE49-F238E27FC236}">
                <a16:creationId xmlns:a16="http://schemas.microsoft.com/office/drawing/2014/main" id="{50429616-616B-F13B-9716-2E6B7AC9353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83512" y="4193831"/>
            <a:ext cx="914400" cy="914400"/>
          </a:xfrm>
          <a:prstGeom prst="rect">
            <a:avLst/>
          </a:prstGeom>
        </p:spPr>
      </p:pic>
      <p:pic>
        <p:nvPicPr>
          <p:cNvPr id="20" name="Gráfico 19" descr="Portapapeles comprobado contorno">
            <a:extLst>
              <a:ext uri="{FF2B5EF4-FFF2-40B4-BE49-F238E27FC236}">
                <a16:creationId xmlns:a16="http://schemas.microsoft.com/office/drawing/2014/main" id="{CB1DD481-06C3-56F1-11D4-AA103747D6F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98916" y="4112463"/>
            <a:ext cx="914400" cy="914400"/>
          </a:xfrm>
          <a:prstGeom prst="rect">
            <a:avLst/>
          </a:prstGeom>
        </p:spPr>
      </p:pic>
      <p:pic>
        <p:nvPicPr>
          <p:cNvPr id="22" name="Gráfico 21" descr="Piezas de rompecabezas contorno">
            <a:extLst>
              <a:ext uri="{FF2B5EF4-FFF2-40B4-BE49-F238E27FC236}">
                <a16:creationId xmlns:a16="http://schemas.microsoft.com/office/drawing/2014/main" id="{0B89E32F-254E-B90A-E6DE-F5A1539D088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8178" y="1955608"/>
            <a:ext cx="914400" cy="914400"/>
          </a:xfrm>
          <a:prstGeom prst="rect">
            <a:avLst/>
          </a:prstGeom>
        </p:spPr>
      </p:pic>
      <p:pic>
        <p:nvPicPr>
          <p:cNvPr id="24" name="Gráfico 23" descr="Camión contorno">
            <a:extLst>
              <a:ext uri="{FF2B5EF4-FFF2-40B4-BE49-F238E27FC236}">
                <a16:creationId xmlns:a16="http://schemas.microsoft.com/office/drawing/2014/main" id="{46F7DBFC-ABEF-2FFE-9CF9-0AFBA63C7EC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56789" y="198505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566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10" grpId="0"/>
      <p:bldP spid="1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1FD1CA99-51B9-BC32-ABCF-68EB0E118AA5}"/>
              </a:ext>
            </a:extLst>
          </p:cNvPr>
          <p:cNvSpPr txBox="1"/>
          <p:nvPr/>
        </p:nvSpPr>
        <p:spPr>
          <a:xfrm>
            <a:off x="6250328" y="1215341"/>
            <a:ext cx="5741043" cy="3163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IDAD 2: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da grupo marca: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🟢 Actividades de bajo riesgo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🟡 Actividades de riesgo medio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🔴 Actividades de alto riesgo.</a:t>
            </a:r>
            <a:endParaRPr kumimoji="0" lang="es-CL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A9081E8-74DE-D43B-4DAA-38A9DAC97A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549" y="527613"/>
            <a:ext cx="48768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62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1D6E77-6AF0-6CA5-2694-1CDB89F8D9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896EC473-DC16-A87F-22FE-BBEEC194B4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88761" cy="6858000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BD807131-67EC-61CE-4B44-D5B6CEAD3F5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771" t="32122" b="20742"/>
          <a:stretch>
            <a:fillRect/>
          </a:stretch>
        </p:blipFill>
        <p:spPr>
          <a:xfrm>
            <a:off x="517189" y="5520111"/>
            <a:ext cx="2202112" cy="7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7963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E165DE5-47DB-71EA-E094-CB6BB6FCC9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o 7">
            <a:extLst>
              <a:ext uri="{FF2B5EF4-FFF2-40B4-BE49-F238E27FC236}">
                <a16:creationId xmlns:a16="http://schemas.microsoft.com/office/drawing/2014/main" id="{A0AF9086-F0B9-B47E-FE13-4A9F04E0ADEF}"/>
              </a:ext>
            </a:extLst>
          </p:cNvPr>
          <p:cNvGrpSpPr/>
          <p:nvPr/>
        </p:nvGrpSpPr>
        <p:grpSpPr>
          <a:xfrm>
            <a:off x="1474472" y="1710439"/>
            <a:ext cx="9096540" cy="4796966"/>
            <a:chOff x="1474472" y="1710439"/>
            <a:chExt cx="9096540" cy="4796966"/>
          </a:xfrm>
        </p:grpSpPr>
        <p:pic>
          <p:nvPicPr>
            <p:cNvPr id="6" name="Imagen 5">
              <a:extLst>
                <a:ext uri="{FF2B5EF4-FFF2-40B4-BE49-F238E27FC236}">
                  <a16:creationId xmlns:a16="http://schemas.microsoft.com/office/drawing/2014/main" id="{37E42D2A-16BD-5781-0F18-7C21CC1F48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74472" y="1710439"/>
              <a:ext cx="9096540" cy="4796966"/>
            </a:xfrm>
            <a:prstGeom prst="rect">
              <a:avLst/>
            </a:prstGeom>
          </p:spPr>
        </p:pic>
        <p:pic>
          <p:nvPicPr>
            <p:cNvPr id="4" name="Imagen 3">
              <a:extLst>
                <a:ext uri="{FF2B5EF4-FFF2-40B4-BE49-F238E27FC236}">
                  <a16:creationId xmlns:a16="http://schemas.microsoft.com/office/drawing/2014/main" id="{5ADD6625-220F-25D2-89C5-6B39FAD83A4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099" t="35711" r="1569" b="46789"/>
            <a:stretch>
              <a:fillRect/>
            </a:stretch>
          </p:blipFill>
          <p:spPr>
            <a:xfrm rot="21441682">
              <a:off x="6254750" y="3155950"/>
              <a:ext cx="706860" cy="1200150"/>
            </a:xfrm>
            <a:prstGeom prst="rect">
              <a:avLst/>
            </a:prstGeom>
          </p:spPr>
        </p:pic>
      </p:grpSp>
      <p:sp>
        <p:nvSpPr>
          <p:cNvPr id="7" name="Título 1">
            <a:extLst>
              <a:ext uri="{FF2B5EF4-FFF2-40B4-BE49-F238E27FC236}">
                <a16:creationId xmlns:a16="http://schemas.microsoft.com/office/drawing/2014/main" id="{B2268511-9751-7E32-5237-263A28AFC9FE}"/>
              </a:ext>
            </a:extLst>
          </p:cNvPr>
          <p:cNvSpPr txBox="1">
            <a:spLocks/>
          </p:cNvSpPr>
          <p:nvPr/>
        </p:nvSpPr>
        <p:spPr>
          <a:xfrm rot="16200000">
            <a:off x="-1973580" y="3192780"/>
            <a:ext cx="5257800" cy="838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MOSTRACIÓN 1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FEB28149-FC26-0D13-3E05-6E8A0A4764B7}"/>
              </a:ext>
            </a:extLst>
          </p:cNvPr>
          <p:cNvSpPr txBox="1"/>
          <p:nvPr/>
        </p:nvSpPr>
        <p:spPr>
          <a:xfrm>
            <a:off x="1474472" y="1197181"/>
            <a:ext cx="3371848" cy="383823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figurar EDT en proyecto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EF263439-2616-019E-1C42-56BB9000C822}"/>
              </a:ext>
            </a:extLst>
          </p:cNvPr>
          <p:cNvSpPr/>
          <p:nvPr/>
        </p:nvSpPr>
        <p:spPr>
          <a:xfrm>
            <a:off x="2500133" y="3003083"/>
            <a:ext cx="5463250" cy="323769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24FB7E6C-C473-5D25-3207-DA5A3EDCA52D}"/>
              </a:ext>
            </a:extLst>
          </p:cNvPr>
          <p:cNvSpPr txBox="1"/>
          <p:nvPr/>
        </p:nvSpPr>
        <p:spPr>
          <a:xfrm>
            <a:off x="8719774" y="1197181"/>
            <a:ext cx="3236007" cy="1477328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Agrega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Duracion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Hitos en cada etap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Formato básico ED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Riesgos de alto nivel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29C6D331-E056-E362-B6C7-613AF6BB1F1F}"/>
              </a:ext>
            </a:extLst>
          </p:cNvPr>
          <p:cNvSpPr txBox="1"/>
          <p:nvPr/>
        </p:nvSpPr>
        <p:spPr>
          <a:xfrm>
            <a:off x="566058" y="511067"/>
            <a:ext cx="7489371" cy="400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ódulo 2: Estructuración y Construcción de Cartas Gantt</a:t>
            </a:r>
          </a:p>
        </p:txBody>
      </p:sp>
    </p:spTree>
    <p:extLst>
      <p:ext uri="{BB962C8B-B14F-4D97-AF65-F5344CB8AC3E}">
        <p14:creationId xmlns:p14="http://schemas.microsoft.com/office/powerpoint/2010/main" val="42829231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63109F98-8F5E-0EA8-C756-088E0E1C665E}"/>
              </a:ext>
            </a:extLst>
          </p:cNvPr>
          <p:cNvSpPr txBox="1"/>
          <p:nvPr/>
        </p:nvSpPr>
        <p:spPr>
          <a:xfrm>
            <a:off x="1505902" y="982980"/>
            <a:ext cx="10686098" cy="43344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Ejercicio práctico </a:t>
            </a:r>
            <a:r>
              <a:rPr lang="es-CL" b="1" dirty="0" err="1">
                <a:latin typeface="Arial" panose="020B0604020202020204" pitchFamily="34" charset="0"/>
                <a:cs typeface="Arial" panose="020B0604020202020204" pitchFamily="34" charset="0"/>
              </a:rPr>
              <a:t>N°</a:t>
            </a: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 2 – </a:t>
            </a:r>
            <a:r>
              <a:rPr lang="es-CL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IDAD INDIVIDUAL</a:t>
            </a:r>
            <a:endParaRPr lang="es-CL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s-MX" b="1" dirty="0">
                <a:latin typeface="Arial" panose="020B0604020202020204" pitchFamily="34" charset="0"/>
                <a:cs typeface="Arial" panose="020B0604020202020204" pitchFamily="34" charset="0"/>
              </a:rPr>
              <a:t>Caso: Para el proyecto creado en la clase 3. </a:t>
            </a: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Incorpora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Fas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Actividad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Duracion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Hit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Riesgos</a:t>
            </a:r>
          </a:p>
          <a:p>
            <a:pPr>
              <a:lnSpc>
                <a:spcPct val="150000"/>
              </a:lnSpc>
            </a:pPr>
            <a:r>
              <a:rPr lang="es-MX" b="1" dirty="0">
                <a:latin typeface="Arial" panose="020B0604020202020204" pitchFamily="34" charset="0"/>
                <a:cs typeface="Arial" panose="020B0604020202020204" pitchFamily="34" charset="0"/>
              </a:rPr>
              <a:t>Resultado esperado</a:t>
            </a:r>
          </a:p>
          <a:p>
            <a:pPr lvl="1">
              <a:lnSpc>
                <a:spcPct val="150000"/>
              </a:lnSpc>
            </a:pPr>
            <a:r>
              <a:rPr lang="es-MX" dirty="0">
                <a:latin typeface="Arial" panose="020B0604020202020204" pitchFamily="34" charset="0"/>
                <a:cs typeface="Arial" panose="020B0604020202020204" pitchFamily="34" charset="0"/>
              </a:rPr>
              <a:t>✅ Proyecto configurado</a:t>
            </a:r>
          </a:p>
          <a:p>
            <a:pPr lvl="1">
              <a:lnSpc>
                <a:spcPct val="150000"/>
              </a:lnSpc>
            </a:pPr>
            <a:r>
              <a:rPr lang="es-MX" dirty="0">
                <a:latin typeface="Arial" panose="020B0604020202020204" pitchFamily="34" charset="0"/>
                <a:cs typeface="Arial" panose="020B0604020202020204" pitchFamily="34" charset="0"/>
              </a:rPr>
              <a:t>✅ Estructura completa</a:t>
            </a:r>
          </a:p>
          <a:p>
            <a:pPr lvl="1">
              <a:lnSpc>
                <a:spcPct val="150000"/>
              </a:lnSpc>
            </a:pPr>
            <a:r>
              <a:rPr lang="es-MX" dirty="0">
                <a:latin typeface="Arial" panose="020B0604020202020204" pitchFamily="34" charset="0"/>
                <a:cs typeface="Arial" panose="020B0604020202020204" pitchFamily="34" charset="0"/>
              </a:rPr>
              <a:t>✅ Carta Gantt básica</a:t>
            </a:r>
          </a:p>
          <a:p>
            <a:pPr lvl="1">
              <a:lnSpc>
                <a:spcPct val="150000"/>
              </a:lnSpc>
            </a:pPr>
            <a:r>
              <a:rPr lang="es-MX" dirty="0">
                <a:latin typeface="Arial" panose="020B0604020202020204" pitchFamily="34" charset="0"/>
                <a:cs typeface="Arial" panose="020B0604020202020204" pitchFamily="34" charset="0"/>
              </a:rPr>
              <a:t>✅ Hitos definidos</a:t>
            </a: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A8276811-689B-461F-5AD0-57EF77D39B4C}"/>
              </a:ext>
            </a:extLst>
          </p:cNvPr>
          <p:cNvSpPr txBox="1">
            <a:spLocks/>
          </p:cNvSpPr>
          <p:nvPr/>
        </p:nvSpPr>
        <p:spPr>
          <a:xfrm rot="16200000">
            <a:off x="-1973580" y="3192780"/>
            <a:ext cx="5257800" cy="838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CL" sz="3100" b="1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ÁCTIQUEMOS 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7B8FE1FA-1709-218D-47F5-30C8279FAA0A}"/>
              </a:ext>
            </a:extLst>
          </p:cNvPr>
          <p:cNvSpPr txBox="1"/>
          <p:nvPr/>
        </p:nvSpPr>
        <p:spPr>
          <a:xfrm>
            <a:off x="566058" y="511067"/>
            <a:ext cx="7489371" cy="400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ódulo 2: Estructuración y Construcción de Cartas Gantt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B8F7AA3-4C5D-46A4-73D2-A25A14CE2C9F}"/>
              </a:ext>
            </a:extLst>
          </p:cNvPr>
          <p:cNvSpPr txBox="1"/>
          <p:nvPr/>
        </p:nvSpPr>
        <p:spPr>
          <a:xfrm>
            <a:off x="7731889" y="1959715"/>
            <a:ext cx="3518750" cy="1477328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>
              <a:buNone/>
            </a:pPr>
            <a:r>
              <a:rPr lang="es-CL" b="1" dirty="0">
                <a:latin typeface="Arial" panose="020B0604020202020204" pitchFamily="34" charset="0"/>
                <a:cs typeface="Arial" panose="020B0604020202020204" pitchFamily="34" charset="0"/>
              </a:rPr>
              <a:t>Mínimo requeri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4 hi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15 actividad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Estimación de duración: día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dirty="0">
                <a:latin typeface="Arial" panose="020B0604020202020204" pitchFamily="34" charset="0"/>
                <a:cs typeface="Arial" panose="020B0604020202020204" pitchFamily="34" charset="0"/>
              </a:rPr>
              <a:t>5 Riesgos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D796EC02-B749-B6A2-5F66-F76457E696B9}"/>
              </a:ext>
            </a:extLst>
          </p:cNvPr>
          <p:cNvSpPr txBox="1"/>
          <p:nvPr/>
        </p:nvSpPr>
        <p:spPr>
          <a:xfrm>
            <a:off x="5665856" y="4413778"/>
            <a:ext cx="6094070" cy="1287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s-MX" b="1" dirty="0">
                <a:latin typeface="Arial" panose="020B0604020202020204" pitchFamily="34" charset="0"/>
                <a:cs typeface="Arial" panose="020B0604020202020204" pitchFamily="34" charset="0"/>
              </a:rPr>
              <a:t>Guardar archivo:</a:t>
            </a:r>
          </a:p>
          <a:p>
            <a:pPr>
              <a:lnSpc>
                <a:spcPct val="150000"/>
              </a:lnSpc>
            </a:pPr>
            <a:r>
              <a:rPr lang="es-MX" b="1" dirty="0">
                <a:latin typeface="Arial" panose="020B0604020202020204" pitchFamily="34" charset="0"/>
                <a:cs typeface="Arial" panose="020B0604020202020204" pitchFamily="34" charset="0"/>
              </a:rPr>
              <a:t>Clas04_nombre.mpp</a:t>
            </a:r>
          </a:p>
          <a:p>
            <a:pPr>
              <a:lnSpc>
                <a:spcPct val="150000"/>
              </a:lnSpc>
            </a:pPr>
            <a:r>
              <a:rPr lang="es-CL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nviar tarea al correo: proyectos@insightgroup.cl</a:t>
            </a:r>
          </a:p>
        </p:txBody>
      </p:sp>
    </p:spTree>
    <p:extLst>
      <p:ext uri="{BB962C8B-B14F-4D97-AF65-F5344CB8AC3E}">
        <p14:creationId xmlns:p14="http://schemas.microsoft.com/office/powerpoint/2010/main" val="3012300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6AB36AE5-3FC5-ECAD-631C-4F6EEDFB85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88761" cy="6858000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79AACE6F-91B0-52C1-E76E-EAD2B8A67A35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4771" t="32122" b="20742"/>
          <a:stretch>
            <a:fillRect/>
          </a:stretch>
        </p:blipFill>
        <p:spPr>
          <a:xfrm>
            <a:off x="517189" y="5520111"/>
            <a:ext cx="2202112" cy="7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704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3991FA6-3C17-7B9E-80B9-9870C7DBBC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632" y="2145767"/>
            <a:ext cx="2560320" cy="256032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0DA1EB8-87CF-4588-A1FD-4756F9A28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3210079" y="1573887"/>
            <a:ext cx="0" cy="3710227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n 5" descr="Icono&#10;&#10;El contenido generado por IA puede ser incorrecto.">
            <a:extLst>
              <a:ext uri="{FF2B5EF4-FFF2-40B4-BE49-F238E27FC236}">
                <a16:creationId xmlns:a16="http://schemas.microsoft.com/office/drawing/2014/main" id="{E3D25C7A-0E63-68FB-AC6C-505BEAD161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4631" y="2145767"/>
            <a:ext cx="2560320" cy="256032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A4E378-EA57-47B9-B1EB-58B998F6CF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072595" y="1573887"/>
            <a:ext cx="0" cy="3710227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n 3" descr="Icono&#10;&#10;El contenido generado por IA puede ser incorrecto.">
            <a:extLst>
              <a:ext uri="{FF2B5EF4-FFF2-40B4-BE49-F238E27FC236}">
                <a16:creationId xmlns:a16="http://schemas.microsoft.com/office/drawing/2014/main" id="{D86199BC-5C3C-B3C7-E56A-84498319AE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5726" y="2145767"/>
            <a:ext cx="2560320" cy="256032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2B31ED6-76F0-425A-9A41-C947AEF9C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956620" y="1573887"/>
            <a:ext cx="0" cy="3710227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n 4" descr="Icono&#10;&#10;El contenido generado por IA puede ser incorrecto.">
            <a:extLst>
              <a:ext uri="{FF2B5EF4-FFF2-40B4-BE49-F238E27FC236}">
                <a16:creationId xmlns:a16="http://schemas.microsoft.com/office/drawing/2014/main" id="{8CC80124-B3F4-736C-3366-EBDEE22F84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20662" y="2145767"/>
            <a:ext cx="2560320" cy="2560320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6783BD85-E01A-505B-6A58-1590FFD47F54}"/>
              </a:ext>
            </a:extLst>
          </p:cNvPr>
          <p:cNvSpPr txBox="1"/>
          <p:nvPr/>
        </p:nvSpPr>
        <p:spPr>
          <a:xfrm>
            <a:off x="3186774" y="5284113"/>
            <a:ext cx="609790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CL" b="1" dirty="0"/>
              <a:t>Una palabra que resuma la sesión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CL" b="1" dirty="0"/>
              <a:t>Un concepto nuevo que aprendí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CL" b="1" dirty="0"/>
              <a:t>Una pregunta que me llevo para la próxima clase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507484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5BEFC32E-708B-56F8-FF8C-5FEA1BCDD2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9" y="0"/>
            <a:ext cx="12185522" cy="6858000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7B1A50E0-9238-8B6F-738B-B1D6669AC8D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4771" t="32122" b="20742"/>
          <a:stretch>
            <a:fillRect/>
          </a:stretch>
        </p:blipFill>
        <p:spPr>
          <a:xfrm>
            <a:off x="9594514" y="5262936"/>
            <a:ext cx="2202112" cy="7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518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66789E6-74BB-1C1F-56F6-11488D5AC5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A5CEE46A-56F1-F4FC-BF2A-FBE2C05D8294}"/>
              </a:ext>
            </a:extLst>
          </p:cNvPr>
          <p:cNvSpPr txBox="1"/>
          <p:nvPr/>
        </p:nvSpPr>
        <p:spPr>
          <a:xfrm>
            <a:off x="566058" y="1144657"/>
            <a:ext cx="11310256" cy="49137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uración:</a:t>
            </a: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4 horas (2 sesiones de 2 horas)</a:t>
            </a: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endParaRPr lang="es-CL" sz="1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Objetivo del módulo:</a:t>
            </a:r>
            <a:endParaRPr lang="es-CL" sz="1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5000"/>
              </a:lnSpc>
              <a:spcAft>
                <a:spcPts val="800"/>
              </a:spcAft>
              <a:buNone/>
            </a:pPr>
            <a:r>
              <a:rPr lang="es-MX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l finalizar el módulo, el participante será capaz de estructurar y construir una Carta Gantt de reconstrucción utilizando Microsoft Project, aplicando una secuencia lógica de actividades, fases y hitos.</a:t>
            </a:r>
          </a:p>
          <a:p>
            <a:pPr algn="just">
              <a:lnSpc>
                <a:spcPct val="115000"/>
              </a:lnSpc>
              <a:spcAft>
                <a:spcPts val="800"/>
              </a:spcAft>
              <a:buNone/>
            </a:pPr>
            <a:endParaRPr lang="es-MX" kern="100" dirty="0"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DT (Estructura de Desglose del Trabajo)</a:t>
            </a:r>
          </a:p>
          <a:p>
            <a:pPr marL="742950" lvl="1" indent="-285750" algn="just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Fases de reconstrucción</a:t>
            </a:r>
          </a:p>
          <a:p>
            <a:pPr marL="742950" lvl="1" indent="-285750" algn="just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areas y subtareas</a:t>
            </a:r>
          </a:p>
          <a:p>
            <a:pPr marL="742950" lvl="1" indent="-285750" algn="just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uraciones</a:t>
            </a:r>
          </a:p>
          <a:p>
            <a:pPr marL="742950" lvl="1" indent="-285750" algn="just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onstrucción de la primera Carta Gantt completa.</a:t>
            </a:r>
          </a:p>
          <a:p>
            <a:pPr algn="just">
              <a:lnSpc>
                <a:spcPct val="115000"/>
              </a:lnSpc>
              <a:spcAft>
                <a:spcPts val="800"/>
              </a:spcAft>
              <a:buNone/>
            </a:pPr>
            <a:endParaRPr lang="es-CL" sz="1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516B35D5-AF69-A604-5E6A-2FF50F9E357B}"/>
              </a:ext>
            </a:extLst>
          </p:cNvPr>
          <p:cNvSpPr txBox="1"/>
          <p:nvPr/>
        </p:nvSpPr>
        <p:spPr>
          <a:xfrm>
            <a:off x="566058" y="511067"/>
            <a:ext cx="7489371" cy="400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ódulo 2: Estructuración y Construcción de Cartas Gantt</a:t>
            </a:r>
          </a:p>
        </p:txBody>
      </p:sp>
    </p:spTree>
    <p:extLst>
      <p:ext uri="{BB962C8B-B14F-4D97-AF65-F5344CB8AC3E}">
        <p14:creationId xmlns:p14="http://schemas.microsoft.com/office/powerpoint/2010/main" val="35738242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4BCE5027-98DB-623E-887B-EA0C1198FCEC}"/>
              </a:ext>
            </a:extLst>
          </p:cNvPr>
          <p:cNvSpPr txBox="1"/>
          <p:nvPr/>
        </p:nvSpPr>
        <p:spPr>
          <a:xfrm>
            <a:off x="838200" y="703071"/>
            <a:ext cx="10759634" cy="46994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s-CL" sz="2400" b="1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lase 4 - </a:t>
            </a:r>
            <a:r>
              <a:rPr lang="es-MX" sz="2400" b="1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structura de una reconstrucción y EDT</a:t>
            </a: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endParaRPr lang="es-MX" sz="2400" b="1" kern="100" dirty="0"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s-CL" sz="2400" b="1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Objetivo de la sesión  </a:t>
            </a:r>
          </a:p>
          <a:p>
            <a:pPr marL="742950" lvl="1" indent="-285750" algn="just">
              <a:lnSpc>
                <a:spcPct val="115000"/>
              </a:lnSpc>
              <a:spcAft>
                <a:spcPts val="800"/>
              </a:spcAft>
              <a:buFont typeface="Wingdings" panose="05000000000000000000" pitchFamily="2" charset="2"/>
              <a:buChar char="ü"/>
            </a:pPr>
            <a:r>
              <a:rPr lang="es-MX" sz="24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ransformar la estructura creada en un cronograma.</a:t>
            </a:r>
          </a:p>
          <a:p>
            <a:pPr lvl="1" algn="just">
              <a:lnSpc>
                <a:spcPct val="115000"/>
              </a:lnSpc>
              <a:spcAft>
                <a:spcPts val="800"/>
              </a:spcAft>
            </a:pPr>
            <a:r>
              <a:rPr lang="es-MX" sz="24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	</a:t>
            </a:r>
          </a:p>
          <a:p>
            <a:pPr lvl="1" algn="just">
              <a:lnSpc>
                <a:spcPct val="115000"/>
              </a:lnSpc>
              <a:spcAft>
                <a:spcPts val="800"/>
              </a:spcAft>
            </a:pPr>
            <a:r>
              <a:rPr lang="es-MX" sz="24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l finalizar podrás:</a:t>
            </a:r>
          </a:p>
          <a:p>
            <a:pPr lvl="1" algn="just">
              <a:lnSpc>
                <a:spcPct val="115000"/>
              </a:lnSpc>
              <a:spcAft>
                <a:spcPts val="800"/>
              </a:spcAft>
            </a:pPr>
            <a:r>
              <a:rPr lang="es-MX" sz="2400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	</a:t>
            </a:r>
            <a:r>
              <a:rPr lang="es-MX" sz="24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✅ Asignar duraciones</a:t>
            </a:r>
          </a:p>
          <a:p>
            <a:pPr lvl="1" algn="just">
              <a:lnSpc>
                <a:spcPct val="115000"/>
              </a:lnSpc>
              <a:spcAft>
                <a:spcPts val="800"/>
              </a:spcAft>
            </a:pPr>
            <a:r>
              <a:rPr lang="es-MX" sz="24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	✅ Crear hitos</a:t>
            </a:r>
          </a:p>
          <a:p>
            <a:pPr marL="742950" lvl="1" indent="-285750" algn="just">
              <a:lnSpc>
                <a:spcPct val="115000"/>
              </a:lnSpc>
              <a:spcAft>
                <a:spcPts val="800"/>
              </a:spcAft>
              <a:buFont typeface="Wingdings" panose="05000000000000000000" pitchFamily="2" charset="2"/>
              <a:buChar char="ü"/>
            </a:pPr>
            <a:endParaRPr lang="es-MX" sz="24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1419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08F2DCF3-DADC-168B-B127-6C2A520F55A4}"/>
              </a:ext>
            </a:extLst>
          </p:cNvPr>
          <p:cNvSpPr txBox="1"/>
          <p:nvPr/>
        </p:nvSpPr>
        <p:spPr>
          <a:xfrm>
            <a:off x="1845940" y="1018604"/>
            <a:ext cx="86776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5400" b="1"/>
              <a:t>Acuerdos de trabajo</a:t>
            </a:r>
            <a:endParaRPr lang="es-CL" sz="5400" b="1"/>
          </a:p>
        </p:txBody>
      </p:sp>
      <p:pic>
        <p:nvPicPr>
          <p:cNvPr id="3" name="Imagen 2" descr="Icono&#10;&#10;El contenido generado por IA puede ser incorrecto.">
            <a:extLst>
              <a:ext uri="{FF2B5EF4-FFF2-40B4-BE49-F238E27FC236}">
                <a16:creationId xmlns:a16="http://schemas.microsoft.com/office/drawing/2014/main" id="{0156D8E4-2554-297C-3363-A825012EB8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5365" y="2343150"/>
            <a:ext cx="790575" cy="790575"/>
          </a:xfrm>
          <a:prstGeom prst="rect">
            <a:avLst/>
          </a:prstGeom>
        </p:spPr>
      </p:pic>
      <p:pic>
        <p:nvPicPr>
          <p:cNvPr id="5" name="Imagen 4" descr="Icono&#10;&#10;El contenido generado por IA puede ser incorrecto.">
            <a:extLst>
              <a:ext uri="{FF2B5EF4-FFF2-40B4-BE49-F238E27FC236}">
                <a16:creationId xmlns:a16="http://schemas.microsoft.com/office/drawing/2014/main" id="{58B3C6F6-674E-CF8E-2393-908F1FB325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29935" y="2274570"/>
            <a:ext cx="951334" cy="951334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FEBB27D7-0D81-77C8-4161-C3DF1519A114}"/>
              </a:ext>
            </a:extLst>
          </p:cNvPr>
          <p:cNvSpPr txBox="1"/>
          <p:nvPr/>
        </p:nvSpPr>
        <p:spPr>
          <a:xfrm>
            <a:off x="1926319" y="2539972"/>
            <a:ext cx="19217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/>
              <a:t>Estar presentes</a:t>
            </a:r>
            <a:endParaRPr lang="es-CL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618D212D-488A-6C04-D002-6E7348CDE0F0}"/>
              </a:ext>
            </a:extLst>
          </p:cNvPr>
          <p:cNvSpPr txBox="1"/>
          <p:nvPr/>
        </p:nvSpPr>
        <p:spPr>
          <a:xfrm>
            <a:off x="5000890" y="2096471"/>
            <a:ext cx="226695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/>
              <a:t>Cuando intervenimos para participar</a:t>
            </a:r>
          </a:p>
          <a:p>
            <a:r>
              <a:rPr lang="es-ES" b="1"/>
              <a:t>Pedir la palabra</a:t>
            </a:r>
            <a:endParaRPr lang="es-CL" b="1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A12E74A-88FF-538C-ED49-445C281C29BF}"/>
              </a:ext>
            </a:extLst>
          </p:cNvPr>
          <p:cNvSpPr txBox="1"/>
          <p:nvPr/>
        </p:nvSpPr>
        <p:spPr>
          <a:xfrm>
            <a:off x="8393805" y="2547824"/>
            <a:ext cx="25336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dirty="0"/>
              <a:t>Hablar con intención, escuchar con atención</a:t>
            </a:r>
            <a:endParaRPr lang="es-CL" dirty="0"/>
          </a:p>
        </p:txBody>
      </p:sp>
      <p:pic>
        <p:nvPicPr>
          <p:cNvPr id="10" name="Imagen 9" descr="Icono&#10;&#10;El contenido generado por IA puede ser incorrecto.">
            <a:extLst>
              <a:ext uri="{FF2B5EF4-FFF2-40B4-BE49-F238E27FC236}">
                <a16:creationId xmlns:a16="http://schemas.microsoft.com/office/drawing/2014/main" id="{44B0FF3D-C452-7A71-4CEF-63169A1655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809" b="96890" l="8134" r="98086">
                        <a14:foregroundMark x1="46411" y1="9809" x2="28230" y2="10287"/>
                        <a14:foregroundMark x1="28230" y1="10287" x2="28947" y2="11962"/>
                        <a14:foregroundMark x1="10287" y1="29426" x2="8612" y2="48325"/>
                        <a14:foregroundMark x1="8612" y1="48325" x2="10766" y2="55981"/>
                        <a14:foregroundMark x1="14833" y1="87321" x2="33971" y2="96890"/>
                        <a14:foregroundMark x1="33971" y1="96890" x2="16507" y2="88995"/>
                        <a14:foregroundMark x1="77273" y1="75598" x2="93780" y2="85167"/>
                        <a14:foregroundMark x1="93780" y1="85167" x2="75120" y2="77273"/>
                        <a14:foregroundMark x1="75120" y1="77273" x2="73923" y2="74880"/>
                        <a14:foregroundMark x1="73684" y1="52871" x2="98086" y2="51435"/>
                        <a14:foregroundMark x1="98086" y1="51435" x2="75120" y2="55502"/>
                        <a14:foregroundMark x1="76555" y1="30622" x2="94498" y2="21770"/>
                        <a14:foregroundMark x1="94498" y1="21770" x2="94737" y2="2153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549676" y="2277082"/>
            <a:ext cx="844129" cy="844129"/>
          </a:xfrm>
          <a:prstGeom prst="rect">
            <a:avLst/>
          </a:prstGeom>
        </p:spPr>
      </p:pic>
      <p:pic>
        <p:nvPicPr>
          <p:cNvPr id="13" name="Imagen 12" descr="Icono&#10;&#10;El contenido generado por IA puede ser incorrecto.">
            <a:extLst>
              <a:ext uri="{FF2B5EF4-FFF2-40B4-BE49-F238E27FC236}">
                <a16:creationId xmlns:a16="http://schemas.microsoft.com/office/drawing/2014/main" id="{879F9460-2F37-2D5D-9195-DFB0EB0A96C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29935" y="3967984"/>
            <a:ext cx="1019175" cy="1019175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A275AA8E-AB36-A68D-8CA6-660E6EF819D6}"/>
              </a:ext>
            </a:extLst>
          </p:cNvPr>
          <p:cNvSpPr txBox="1"/>
          <p:nvPr/>
        </p:nvSpPr>
        <p:spPr>
          <a:xfrm>
            <a:off x="5149110" y="4222539"/>
            <a:ext cx="26918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dirty="0"/>
              <a:t>Participación activa y colaborativa 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94350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4BE6CE7-E73B-C43F-1EAC-98452D9FE8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319E4592-1E9D-FB86-043E-548524506E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871" y="851703"/>
            <a:ext cx="4876800" cy="4876800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467C1D7B-FE22-CE57-04B1-C3A26EBF8772}"/>
              </a:ext>
            </a:extLst>
          </p:cNvPr>
          <p:cNvSpPr txBox="1"/>
          <p:nvPr/>
        </p:nvSpPr>
        <p:spPr>
          <a:xfrm>
            <a:off x="6774084" y="2703217"/>
            <a:ext cx="487680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2800" b="1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Mostrar EDT creada</a:t>
            </a:r>
          </a:p>
          <a:p>
            <a:endParaRPr lang="es-CL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MX" sz="2800" b="1" dirty="0">
                <a:latin typeface="Arial" panose="020B0604020202020204" pitchFamily="34" charset="0"/>
                <a:cs typeface="Arial" panose="020B0604020202020204" pitchFamily="34" charset="0"/>
              </a:rPr>
              <a:t>¿Qué aprendimos la sesión anterior?</a:t>
            </a:r>
            <a:endParaRPr lang="es-CL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27286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FC477750-007E-B631-6AC3-3E17E816DE3A}"/>
              </a:ext>
            </a:extLst>
          </p:cNvPr>
          <p:cNvSpPr txBox="1"/>
          <p:nvPr/>
        </p:nvSpPr>
        <p:spPr>
          <a:xfrm>
            <a:off x="2639029" y="2883273"/>
            <a:ext cx="9453623" cy="5457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800"/>
              </a:spcAft>
              <a:buNone/>
            </a:pPr>
            <a:r>
              <a:rPr lang="es-MX" sz="2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¿Qué información necesita una actividad?</a:t>
            </a:r>
            <a:endParaRPr lang="es-CL" sz="2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3AB235BE-E20A-7012-A94D-E49B9416C0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032" y="2141052"/>
            <a:ext cx="2303364" cy="2303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251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14F0CD6-9140-2548-9393-09C358FFF2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C23CB403-5763-F089-5C52-CDAF6793DF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6195" y="1376882"/>
            <a:ext cx="2153157" cy="2153157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2F170F18-D698-75C0-FCAB-5A41AFD34C96}"/>
              </a:ext>
            </a:extLst>
          </p:cNvPr>
          <p:cNvSpPr txBox="1"/>
          <p:nvPr/>
        </p:nvSpPr>
        <p:spPr>
          <a:xfrm>
            <a:off x="3148578" y="1376882"/>
            <a:ext cx="2153157" cy="1647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Nombre</a:t>
            </a:r>
          </a:p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uración</a:t>
            </a:r>
          </a:p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Responsable</a:t>
            </a:r>
          </a:p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ependencias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E51BC526-5678-FE33-4302-EC14184837BA}"/>
              </a:ext>
            </a:extLst>
          </p:cNvPr>
          <p:cNvSpPr txBox="1"/>
          <p:nvPr/>
        </p:nvSpPr>
        <p:spPr>
          <a:xfrm>
            <a:off x="740778" y="459786"/>
            <a:ext cx="9453623" cy="5457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MX" sz="2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¿Qué información necesita una actividad?</a:t>
            </a:r>
            <a:endParaRPr lang="es-CL" sz="2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lecha: a la derecha 5">
            <a:extLst>
              <a:ext uri="{FF2B5EF4-FFF2-40B4-BE49-F238E27FC236}">
                <a16:creationId xmlns:a16="http://schemas.microsoft.com/office/drawing/2014/main" id="{91AB3131-E7EB-7062-9AB4-2E7D128C8522}"/>
              </a:ext>
            </a:extLst>
          </p:cNvPr>
          <p:cNvSpPr/>
          <p:nvPr/>
        </p:nvSpPr>
        <p:spPr>
          <a:xfrm>
            <a:off x="4791919" y="1805651"/>
            <a:ext cx="1169043" cy="381964"/>
          </a:xfrm>
          <a:prstGeom prst="right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EFC84BB0-EF74-CEB0-C441-3B2636A55B6A}"/>
              </a:ext>
            </a:extLst>
          </p:cNvPr>
          <p:cNvSpPr txBox="1"/>
          <p:nvPr/>
        </p:nvSpPr>
        <p:spPr>
          <a:xfrm>
            <a:off x="6231040" y="1805651"/>
            <a:ext cx="5806631" cy="1226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stimación de la duración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s-CL" b="1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	</a:t>
            </a:r>
            <a:r>
              <a:rPr lang="es-MX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jemplo: Desmontaje motor </a:t>
            </a:r>
            <a:r>
              <a:rPr lang="es-MX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es-MX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3 días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endParaRPr lang="es-CL" sz="1800" b="1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20493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6DFD30A-7386-8507-8831-A6F615EC0C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77E95828-D2F2-1224-5DE1-E606BE9497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471" y="3377811"/>
            <a:ext cx="2153157" cy="2153157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D0E55C16-FB96-791D-692B-AAE5588F5328}"/>
              </a:ext>
            </a:extLst>
          </p:cNvPr>
          <p:cNvSpPr txBox="1"/>
          <p:nvPr/>
        </p:nvSpPr>
        <p:spPr>
          <a:xfrm>
            <a:off x="2914628" y="1439683"/>
            <a:ext cx="6094070" cy="12116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rror común</a:t>
            </a:r>
            <a:endParaRPr lang="es-CL" sz="1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"Lo hacemos rápido"</a:t>
            </a:r>
          </a:p>
          <a:p>
            <a:pPr>
              <a:buNone/>
            </a:pPr>
            <a:r>
              <a:rPr lang="es-CL" sz="1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	Project necesita duración.</a:t>
            </a:r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C8A08F6F-7504-404C-3FE0-61401F1F7B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2825" y="1137268"/>
            <a:ext cx="1620456" cy="1620456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A8258CA0-EDA9-4B68-AE7D-CED10E7804E8}"/>
              </a:ext>
            </a:extLst>
          </p:cNvPr>
          <p:cNvSpPr txBox="1"/>
          <p:nvPr/>
        </p:nvSpPr>
        <p:spPr>
          <a:xfrm>
            <a:off x="6218499" y="3205541"/>
            <a:ext cx="6094070" cy="16327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ómo estimar duración</a:t>
            </a:r>
            <a:endParaRPr lang="es-CL" sz="1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xperiencia previa</a:t>
            </a: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Históric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CL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Juicio experto</a:t>
            </a:r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EF9D122F-15D0-DC6C-326D-ACA9EF951C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47281" y="2997558"/>
            <a:ext cx="2048719" cy="2048719"/>
          </a:xfrm>
          <a:prstGeom prst="rect">
            <a:avLst/>
          </a:prstGeom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DD1222BE-46DF-29F8-23C7-9884BADF9102}"/>
              </a:ext>
            </a:extLst>
          </p:cNvPr>
          <p:cNvSpPr txBox="1"/>
          <p:nvPr/>
        </p:nvSpPr>
        <p:spPr>
          <a:xfrm>
            <a:off x="740778" y="459786"/>
            <a:ext cx="9453623" cy="5457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MX" sz="2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¿Cómo estimar la duración de una actividad?</a:t>
            </a:r>
            <a:endParaRPr lang="es-CL" sz="2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41347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2835DC9-C5A1-0586-6643-1789484EDB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D4831937-B010-55E0-5B8C-6FFE32F4AB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471" y="3377811"/>
            <a:ext cx="2153157" cy="2153157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C104CB69-B477-028E-A787-921737306E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21757" y="1167302"/>
            <a:ext cx="2048719" cy="2048719"/>
          </a:xfrm>
          <a:prstGeom prst="rect">
            <a:avLst/>
          </a:prstGeom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D4BF9BA2-5AAB-3140-6F79-CF65CFB728B3}"/>
              </a:ext>
            </a:extLst>
          </p:cNvPr>
          <p:cNvSpPr txBox="1"/>
          <p:nvPr/>
        </p:nvSpPr>
        <p:spPr>
          <a:xfrm>
            <a:off x="3588153" y="3156136"/>
            <a:ext cx="9453623" cy="5457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MX" sz="2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¿</a:t>
            </a:r>
            <a:r>
              <a:rPr lang="es-MX" sz="2800" b="1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uáles son los </a:t>
            </a:r>
            <a:r>
              <a:rPr lang="es-MX" sz="2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Hitos en Reconstrucción?</a:t>
            </a:r>
            <a:endParaRPr lang="es-CL" sz="2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2EB41520-D27F-EEC0-98D2-E0FC8AC972CB}"/>
              </a:ext>
            </a:extLst>
          </p:cNvPr>
          <p:cNvSpPr txBox="1"/>
          <p:nvPr/>
        </p:nvSpPr>
        <p:spPr>
          <a:xfrm>
            <a:off x="3588153" y="1477626"/>
            <a:ext cx="6157730" cy="1226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Hitos</a:t>
            </a:r>
            <a:endParaRPr lang="es-CL" sz="1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efinición: Evento importante de control.</a:t>
            </a: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uración: 0 días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093DB42-8EC7-0D76-13B3-1FBFAC9BB049}"/>
              </a:ext>
            </a:extLst>
          </p:cNvPr>
          <p:cNvSpPr txBox="1"/>
          <p:nvPr/>
        </p:nvSpPr>
        <p:spPr>
          <a:xfrm>
            <a:off x="893178" y="612186"/>
            <a:ext cx="9453623" cy="5457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s-MX" sz="2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¿Cómo definir Hitos?</a:t>
            </a:r>
            <a:endParaRPr lang="es-CL" sz="2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96349EA7-A528-876B-03B8-05E9114E1BD7}"/>
              </a:ext>
            </a:extLst>
          </p:cNvPr>
          <p:cNvSpPr txBox="1"/>
          <p:nvPr/>
        </p:nvSpPr>
        <p:spPr>
          <a:xfrm>
            <a:off x="4233440" y="3747619"/>
            <a:ext cx="6522334" cy="16327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Wingdings" panose="05000000000000000000" pitchFamily="2" charset="2"/>
              <a:buChar char="q"/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Recepción equipo</a:t>
            </a:r>
          </a:p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Wingdings" panose="05000000000000000000" pitchFamily="2" charset="2"/>
              <a:buChar char="q"/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Recepción repuestos críticos</a:t>
            </a:r>
          </a:p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Wingdings" panose="05000000000000000000" pitchFamily="2" charset="2"/>
              <a:buChar char="q"/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Liberación calidad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CL" sz="1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ntrega equipo</a:t>
            </a:r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55503D0E-8AEB-2AC9-DEE8-9F63A19266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01414" y="3842030"/>
            <a:ext cx="1688938" cy="1688938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63CD1AB6-CAA2-56A8-02B1-E59F34FF9016}"/>
              </a:ext>
            </a:extLst>
          </p:cNvPr>
          <p:cNvSpPr txBox="1"/>
          <p:nvPr/>
        </p:nvSpPr>
        <p:spPr>
          <a:xfrm>
            <a:off x="8148577" y="1358296"/>
            <a:ext cx="3673033" cy="1647246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s-CL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Beneficios de identificar Hitos:</a:t>
            </a:r>
          </a:p>
          <a:p>
            <a:pPr marL="285750" lvl="0" indent="-28575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ontrol.</a:t>
            </a:r>
          </a:p>
          <a:p>
            <a:pPr marL="285750" lvl="0" indent="-28575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eguimiento.</a:t>
            </a:r>
          </a:p>
          <a:p>
            <a:pPr marL="285750" lvl="0" indent="-28575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es-CL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omunicación.</a:t>
            </a:r>
          </a:p>
        </p:txBody>
      </p:sp>
    </p:spTree>
    <p:extLst>
      <p:ext uri="{BB962C8B-B14F-4D97-AF65-F5344CB8AC3E}">
        <p14:creationId xmlns:p14="http://schemas.microsoft.com/office/powerpoint/2010/main" val="8594367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9" grpId="0"/>
      <p:bldP spid="1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32687&quot;&gt;&lt;version val=&quot;38686&quot;/&gt;&lt;CPresentation id=&quot;1&quot;&gt;&lt;m_precDefaultOrdinal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41</TotalTime>
  <Words>573</Words>
  <Application>Microsoft Office PowerPoint</Application>
  <PresentationFormat>Panorámica</PresentationFormat>
  <Paragraphs>138</Paragraphs>
  <Slides>19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9</vt:i4>
      </vt:variant>
    </vt:vector>
  </HeadingPairs>
  <TitlesOfParts>
    <vt:vector size="25" baseType="lpstr">
      <vt:lpstr>Aptos</vt:lpstr>
      <vt:lpstr>Aptos Display</vt:lpstr>
      <vt:lpstr>Arial</vt:lpstr>
      <vt:lpstr>Wingdings</vt:lpstr>
      <vt:lpstr>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atalie Delgado</dc:creator>
  <cp:lastModifiedBy>Natalie Delgado</cp:lastModifiedBy>
  <cp:revision>4</cp:revision>
  <dcterms:created xsi:type="dcterms:W3CDTF">2026-06-02T00:43:29Z</dcterms:created>
  <dcterms:modified xsi:type="dcterms:W3CDTF">2026-06-23T01:12:35Z</dcterms:modified>
</cp:coreProperties>
</file>